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diagrams/data1.xml" ContentType="application/vnd.openxmlformats-officedocument.drawingml.diagramData+xml"/>
  <Override PartName="/ppt/diagrams/data3.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9.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0.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Masters/slideMaster2.xml" ContentType="application/vnd.openxmlformats-officedocument.presentationml.slideMaster+xml"/>
  <Override PartName="/ppt/slideLayouts/slideLayout23.xml" ContentType="application/vnd.openxmlformats-officedocument.presentationml.slideLayout+xml"/>
  <Override PartName="/ppt/slideLayouts/slideLayout25.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Masters/slideMaster1.xml" ContentType="application/vnd.openxmlformats-officedocument.presentationml.slideMaster+xml"/>
  <Override PartName="/ppt/slideLayouts/slideLayout26.xml" ContentType="application/vnd.openxmlformats-officedocument.presentationml.slideLayout+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Layouts/slideLayout16.xml" ContentType="application/vnd.openxmlformats-officedocument.presentationml.slideLayout+xml"/>
  <Override PartName="/ppt/slideLayouts/slideLayout24.xml" ContentType="application/vnd.openxmlformats-officedocument.presentationml.slideLayout+xml"/>
  <Override PartName="/ppt/slideLayouts/slideLayout14.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5.xml" ContentType="application/vnd.openxmlformats-officedocument.presentationml.slideLayout+xml"/>
  <Override PartName="/ppt/slideLayouts/slideLayout10.xml" ContentType="application/vnd.openxmlformats-officedocument.presentationml.slideLayout+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diagrams/layout3.xml" ContentType="application/vnd.openxmlformats-officedocument.drawingml.diagramLayout+xml"/>
  <Override PartName="/ppt/notesMasters/notesMaster1.xml" ContentType="application/vnd.openxmlformats-officedocument.presentationml.notesMaster+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colors3.xml" ContentType="application/vnd.openxmlformats-officedocument.drawingml.diagramColors+xml"/>
  <Override PartName="/ppt/diagrams/drawing3.xml" ContentType="application/vnd.ms-office.drawingml.diagramDrawing+xml"/>
  <Override PartName="/ppt/theme/theme1.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diagrams/quickStyle1.xml" ContentType="application/vnd.openxmlformats-officedocument.drawingml.diagramStyle+xml"/>
  <Override PartName="/ppt/theme/theme3.xml" ContentType="application/vnd.openxmlformats-officedocument.theme+xml"/>
  <Override PartName="/ppt/theme/theme4.xml" ContentType="application/vnd.openxmlformats-officedocument.theme+xml"/>
  <Override PartName="/ppt/diagrams/colors1.xml" ContentType="application/vnd.openxmlformats-officedocument.drawingml.diagramColors+xml"/>
  <Override PartName="/ppt/theme/theme5.xml" ContentType="application/vnd.openxmlformats-officedocument.theme+xml"/>
  <Override PartName="/ppt/handoutMasters/handoutMaster1.xml" ContentType="application/vnd.openxmlformats-officedocument.presentationml.handoutMaster+xml"/>
  <Override PartName="/ppt/theme/theme6.xml" ContentType="application/vnd.openxmlformats-officedocument.theme+xml"/>
  <Override PartName="/ppt/diagrams/layout1.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xml" ContentType="application/vnd.openxmlformats-officedocument.presentationml.tags+xml"/>
  <Override PartName="/ppt/tags/tag1.xml" ContentType="application/vnd.openxmlformats-officedocument.presentationml.tags+xml"/>
  <Override PartName="/ppt/tags/tag22.xml" ContentType="application/vnd.openxmlformats-officedocument.presentationml.tags+xml"/>
  <Override PartName="/ppt/tags/tag3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6.xml" ContentType="application/vnd.openxmlformats-officedocument.presentationml.tags+xml"/>
  <Override PartName="/ppt/tags/tag11.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5.xml" ContentType="application/vnd.openxmlformats-officedocument.presentationml.tags+xml"/>
  <Override PartName="/ppt/tags/tag17.xml" ContentType="application/vnd.openxmlformats-officedocument.presentationml.tags+xml"/>
  <Override PartName="/ppt/tags/tag38.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4.xml" ContentType="application/vnd.openxmlformats-officedocument.presentationml.tags+xml"/>
  <Override PartName="/ppt/tags/tag8.xml" ContentType="application/vnd.openxmlformats-officedocument.presentationml.tags+xml"/>
  <Override PartName="/ppt/tags/tag35.xml" ContentType="application/vnd.openxmlformats-officedocument.presentationml.tags+xml"/>
  <Override PartName="/ppt/tags/tag9.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15.xml" ContentType="application/vnd.openxmlformats-officedocument.presentationml.tags+xml"/>
  <Override PartName="/ppt/tags/tag36.xml" ContentType="application/vnd.openxmlformats-officedocument.presentationml.tags+xml"/>
  <Override PartName="/ppt/tags/tag10.xml" ContentType="application/vnd.openxmlformats-officedocument.presentationml.tags+xml"/>
  <Override PartName="/ppt/tags/tag37.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0.xml" ContentType="application/vnd.openxmlformats-officedocument.presentationml.tags+xml"/>
  <Override PartName="/ppt/tags/tag3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092" r:id="rId2"/>
    <p:sldMasterId id="2147484086" r:id="rId3"/>
    <p:sldMasterId id="2147484101" r:id="rId4"/>
  </p:sldMasterIdLst>
  <p:notesMasterIdLst>
    <p:notesMasterId r:id="rId15"/>
  </p:notesMasterIdLst>
  <p:handoutMasterIdLst>
    <p:handoutMasterId r:id="rId16"/>
  </p:handoutMasterIdLst>
  <p:sldIdLst>
    <p:sldId id="256" r:id="rId5"/>
    <p:sldId id="274" r:id="rId6"/>
    <p:sldId id="271" r:id="rId7"/>
    <p:sldId id="272" r:id="rId8"/>
    <p:sldId id="273" r:id="rId9"/>
    <p:sldId id="269" r:id="rId10"/>
    <p:sldId id="275" r:id="rId11"/>
    <p:sldId id="276" r:id="rId12"/>
    <p:sldId id="277" r:id="rId13"/>
    <p:sldId id="270" r:id="rId14"/>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1360B"/>
    <a:srgbClr val="D9F7FF"/>
    <a:srgbClr val="000000"/>
    <a:srgbClr val="01829B"/>
    <a:srgbClr val="979797"/>
    <a:srgbClr val="A1A1A1"/>
    <a:srgbClr val="FFFFFE"/>
    <a:srgbClr val="00BDF2"/>
  </p:clrMru>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13344" autoAdjust="0"/>
    <p:restoredTop sz="76303" autoAdjust="0"/>
  </p:normalViewPr>
  <p:slideViewPr>
    <p:cSldViewPr snapToGrid="0">
      <p:cViewPr>
        <p:scale>
          <a:sx n="70" d="100"/>
          <a:sy n="70" d="100"/>
        </p:scale>
        <p:origin x="-2502" y="-480"/>
      </p:cViewPr>
      <p:guideLst>
        <p:guide orient="horz" pos="941"/>
        <p:guide orient="horz" pos="3888"/>
        <p:guide orient="horz" pos="3646"/>
        <p:guide orient="horz" pos="3472"/>
        <p:guide pos="201"/>
        <p:guide pos="557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customXml" Target="../customXml/item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customXml" Target="../customXml/item3.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ustomXml" Target="../customXml/item2.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79FBC7-936A-43C9-B177-40F98CC2565A}" type="doc">
      <dgm:prSet loTypeId="urn:microsoft.com/office/officeart/2005/8/layout/orgChart1" loCatId="hierarchy" qsTypeId="urn:microsoft.com/office/officeart/2005/8/quickstyle/simple1" qsCatId="simple" csTypeId="urn:microsoft.com/office/officeart/2005/8/colors/accent2_2" csCatId="accent2" phldr="1"/>
      <dgm:spPr/>
      <dgm:t>
        <a:bodyPr/>
        <a:lstStyle/>
        <a:p>
          <a:endParaRPr lang="en-US"/>
        </a:p>
      </dgm:t>
    </dgm:pt>
    <dgm:pt modelId="{2DA53642-2A66-4187-8A40-BBD439CA8A9A}">
      <dgm:prSet phldrT="[Text]" custT="1"/>
      <dgm:spPr/>
      <dgm:t>
        <a:bodyPr/>
        <a:lstStyle/>
        <a:p>
          <a:r>
            <a:rPr lang="en-US" sz="1800" b="1" dirty="0" smtClean="0"/>
            <a:t>Capgemini</a:t>
          </a:r>
          <a:endParaRPr lang="en-US" sz="1800" b="1" dirty="0"/>
        </a:p>
      </dgm:t>
    </dgm:pt>
    <dgm:pt modelId="{12926142-2184-4D86-90FC-45B0FA0BF0D1}" type="parTrans" cxnId="{45DF2621-C09E-4C68-9016-2DC88B11A09C}">
      <dgm:prSet/>
      <dgm:spPr/>
      <dgm:t>
        <a:bodyPr/>
        <a:lstStyle/>
        <a:p>
          <a:endParaRPr lang="en-US" sz="1800" b="1"/>
        </a:p>
      </dgm:t>
    </dgm:pt>
    <dgm:pt modelId="{B531F88B-74D6-433F-B0A6-CA9AD7659277}" type="sibTrans" cxnId="{45DF2621-C09E-4C68-9016-2DC88B11A09C}">
      <dgm:prSet/>
      <dgm:spPr/>
      <dgm:t>
        <a:bodyPr/>
        <a:lstStyle/>
        <a:p>
          <a:endParaRPr lang="en-US" sz="1800" b="1"/>
        </a:p>
      </dgm:t>
    </dgm:pt>
    <dgm:pt modelId="{1BF654EF-9503-42F8-8497-6526CBBE27CB}">
      <dgm:prSet phldrT="[Text]" custT="1"/>
      <dgm:spPr>
        <a:solidFill>
          <a:schemeClr val="bg2"/>
        </a:solidFill>
      </dgm:spPr>
      <dgm:t>
        <a:bodyPr/>
        <a:lstStyle/>
        <a:p>
          <a:r>
            <a:rPr lang="en-US" sz="1800" b="1" dirty="0" smtClean="0"/>
            <a:t>Financial Services </a:t>
          </a:r>
          <a:endParaRPr lang="en-US" sz="1800" b="1" dirty="0"/>
        </a:p>
      </dgm:t>
    </dgm:pt>
    <dgm:pt modelId="{AB045F32-1986-4548-8472-887FAC2A1A95}" type="parTrans" cxnId="{F656DF3B-5258-4CC0-BD3F-9385A46EF222}">
      <dgm:prSet/>
      <dgm:spPr/>
      <dgm:t>
        <a:bodyPr/>
        <a:lstStyle/>
        <a:p>
          <a:endParaRPr lang="en-US" sz="1800" b="1"/>
        </a:p>
      </dgm:t>
    </dgm:pt>
    <dgm:pt modelId="{D485B9E5-EB7A-4F2A-8FE5-5EB64B9B3F2A}" type="sibTrans" cxnId="{F656DF3B-5258-4CC0-BD3F-9385A46EF222}">
      <dgm:prSet/>
      <dgm:spPr/>
      <dgm:t>
        <a:bodyPr/>
        <a:lstStyle/>
        <a:p>
          <a:endParaRPr lang="en-US" sz="1800" b="1"/>
        </a:p>
      </dgm:t>
    </dgm:pt>
    <dgm:pt modelId="{D0F2C2D4-EB3A-4E69-B830-5FD720F746A2}">
      <dgm:prSet phldrT="[Text]" custT="1"/>
      <dgm:spPr/>
      <dgm:t>
        <a:bodyPr/>
        <a:lstStyle/>
        <a:p>
          <a:r>
            <a:rPr lang="en-US" sz="1800" b="1" dirty="0" smtClean="0"/>
            <a:t>AppsOne</a:t>
          </a:r>
          <a:endParaRPr lang="en-US" sz="1800" b="1" dirty="0"/>
        </a:p>
      </dgm:t>
    </dgm:pt>
    <dgm:pt modelId="{35FD2D39-FFEB-454A-8337-17C9265191DD}" type="parTrans" cxnId="{FB5C5BCF-D108-4C01-9576-9BED6213EAD4}">
      <dgm:prSet/>
      <dgm:spPr/>
      <dgm:t>
        <a:bodyPr/>
        <a:lstStyle/>
        <a:p>
          <a:endParaRPr lang="en-US" sz="1800" b="1"/>
        </a:p>
      </dgm:t>
    </dgm:pt>
    <dgm:pt modelId="{2AAD61CD-9FB4-43D8-B7B9-976121CCBB9A}" type="sibTrans" cxnId="{FB5C5BCF-D108-4C01-9576-9BED6213EAD4}">
      <dgm:prSet/>
      <dgm:spPr/>
      <dgm:t>
        <a:bodyPr/>
        <a:lstStyle/>
        <a:p>
          <a:endParaRPr lang="en-US" sz="1800" b="1"/>
        </a:p>
      </dgm:t>
    </dgm:pt>
    <dgm:pt modelId="{DED10DF8-E93F-45E5-82AE-D73E85D50635}">
      <dgm:prSet phldrT="[Text]" custT="1"/>
      <dgm:spPr>
        <a:solidFill>
          <a:srgbClr val="92D050"/>
        </a:solidFill>
      </dgm:spPr>
      <dgm:t>
        <a:bodyPr/>
        <a:lstStyle/>
        <a:p>
          <a:r>
            <a:rPr lang="en-US" sz="1800" b="1" dirty="0" smtClean="0"/>
            <a:t>AppsTwo</a:t>
          </a:r>
        </a:p>
      </dgm:t>
    </dgm:pt>
    <dgm:pt modelId="{B7BB7F17-D214-4304-AB7C-DFBE1EF2985D}" type="parTrans" cxnId="{861CA231-C77F-4129-8B32-E5B7D7BCFDB7}">
      <dgm:prSet/>
      <dgm:spPr/>
      <dgm:t>
        <a:bodyPr/>
        <a:lstStyle/>
        <a:p>
          <a:endParaRPr lang="en-US" sz="1800" b="1"/>
        </a:p>
      </dgm:t>
    </dgm:pt>
    <dgm:pt modelId="{09EC4FB8-B49F-4340-A81E-5FFA3544D5CA}" type="sibTrans" cxnId="{861CA231-C77F-4129-8B32-E5B7D7BCFDB7}">
      <dgm:prSet/>
      <dgm:spPr/>
      <dgm:t>
        <a:bodyPr/>
        <a:lstStyle/>
        <a:p>
          <a:endParaRPr lang="en-US" sz="1800" b="1"/>
        </a:p>
      </dgm:t>
    </dgm:pt>
    <dgm:pt modelId="{13DBCD1B-0A8F-421E-A9E1-58751A5C1DB6}">
      <dgm:prSet custT="1"/>
      <dgm:spPr/>
      <dgm:t>
        <a:bodyPr/>
        <a:lstStyle/>
        <a:p>
          <a:r>
            <a:rPr lang="en-US" sz="1800" b="1" dirty="0" smtClean="0"/>
            <a:t>Capgemini Consulting</a:t>
          </a:r>
          <a:endParaRPr lang="en-US" sz="1800" b="1" dirty="0"/>
        </a:p>
      </dgm:t>
    </dgm:pt>
    <dgm:pt modelId="{0A72DBAF-E577-447E-A762-BDFB1F389AE9}" type="parTrans" cxnId="{410E9A45-F73B-41FD-BB56-D3ACC11054EB}">
      <dgm:prSet/>
      <dgm:spPr/>
      <dgm:t>
        <a:bodyPr/>
        <a:lstStyle/>
        <a:p>
          <a:endParaRPr lang="en-US" sz="1800" b="1"/>
        </a:p>
      </dgm:t>
    </dgm:pt>
    <dgm:pt modelId="{22C49337-BCCB-4890-AB0D-6F06D9948505}" type="sibTrans" cxnId="{410E9A45-F73B-41FD-BB56-D3ACC11054EB}">
      <dgm:prSet/>
      <dgm:spPr/>
      <dgm:t>
        <a:bodyPr/>
        <a:lstStyle/>
        <a:p>
          <a:endParaRPr lang="en-US" sz="1800" b="1"/>
        </a:p>
      </dgm:t>
    </dgm:pt>
    <dgm:pt modelId="{989D513A-ED7E-4ED6-9EFD-186757700DA1}">
      <dgm:prSet custT="1"/>
      <dgm:spPr/>
      <dgm:t>
        <a:bodyPr/>
        <a:lstStyle/>
        <a:p>
          <a:r>
            <a:rPr lang="en-US" sz="1800" b="1" dirty="0" smtClean="0"/>
            <a:t>Sogeti</a:t>
          </a:r>
          <a:endParaRPr lang="en-US" sz="1800" b="1" dirty="0"/>
        </a:p>
      </dgm:t>
    </dgm:pt>
    <dgm:pt modelId="{EC3C005E-AEA7-4EB5-93C8-465306035A47}" type="parTrans" cxnId="{321BABDF-C753-4B5B-8774-9D1412A402AE}">
      <dgm:prSet/>
      <dgm:spPr/>
      <dgm:t>
        <a:bodyPr/>
        <a:lstStyle/>
        <a:p>
          <a:endParaRPr lang="en-US" sz="1800" b="1"/>
        </a:p>
      </dgm:t>
    </dgm:pt>
    <dgm:pt modelId="{A3DBF3C3-DCCC-4C9D-961C-8BA635C6AE69}" type="sibTrans" cxnId="{321BABDF-C753-4B5B-8774-9D1412A402AE}">
      <dgm:prSet/>
      <dgm:spPr/>
      <dgm:t>
        <a:bodyPr/>
        <a:lstStyle/>
        <a:p>
          <a:endParaRPr lang="en-US" sz="1800" b="1"/>
        </a:p>
      </dgm:t>
    </dgm:pt>
    <dgm:pt modelId="{DAF793C4-DFB0-4F06-BD79-5C7B4A58F930}">
      <dgm:prSet custT="1"/>
      <dgm:spPr>
        <a:solidFill>
          <a:schemeClr val="bg2"/>
        </a:solidFill>
      </dgm:spPr>
      <dgm:t>
        <a:bodyPr/>
        <a:lstStyle/>
        <a:p>
          <a:r>
            <a:rPr lang="en-US" sz="1800" b="1" dirty="0" smtClean="0"/>
            <a:t>TDI</a:t>
          </a:r>
          <a:endParaRPr lang="en-US" sz="1800" b="1" dirty="0"/>
        </a:p>
      </dgm:t>
    </dgm:pt>
    <dgm:pt modelId="{E2D62F41-73C4-472C-A1C4-76CE8A75909D}" type="parTrans" cxnId="{CC014C98-C823-4B5B-81DD-7079D3095AFE}">
      <dgm:prSet/>
      <dgm:spPr/>
      <dgm:t>
        <a:bodyPr/>
        <a:lstStyle/>
        <a:p>
          <a:endParaRPr lang="en-US"/>
        </a:p>
      </dgm:t>
    </dgm:pt>
    <dgm:pt modelId="{EC00CAE1-1BFD-443C-BF96-7944E2BAD4F4}" type="sibTrans" cxnId="{CC014C98-C823-4B5B-81DD-7079D3095AFE}">
      <dgm:prSet/>
      <dgm:spPr/>
      <dgm:t>
        <a:bodyPr/>
        <a:lstStyle/>
        <a:p>
          <a:endParaRPr lang="en-US"/>
        </a:p>
      </dgm:t>
    </dgm:pt>
    <dgm:pt modelId="{0B4CD3FB-3FEF-4616-BF65-C35D43A3B29F}">
      <dgm:prSet custT="1"/>
      <dgm:spPr/>
      <dgm:t>
        <a:bodyPr/>
        <a:lstStyle/>
        <a:p>
          <a:r>
            <a:rPr lang="en-US" sz="1800" dirty="0" smtClean="0"/>
            <a:t>Testing</a:t>
          </a:r>
          <a:endParaRPr lang="en-US" sz="1800" dirty="0"/>
        </a:p>
      </dgm:t>
    </dgm:pt>
    <dgm:pt modelId="{5C791730-02DC-401E-8299-82480B229BE9}" type="parTrans" cxnId="{242BCD79-F298-421D-A1D5-B885A2969B64}">
      <dgm:prSet/>
      <dgm:spPr/>
      <dgm:t>
        <a:bodyPr/>
        <a:lstStyle/>
        <a:p>
          <a:endParaRPr lang="en-US"/>
        </a:p>
      </dgm:t>
    </dgm:pt>
    <dgm:pt modelId="{97D5296D-28DE-408E-8736-54C84D7E9DE8}" type="sibTrans" cxnId="{242BCD79-F298-421D-A1D5-B885A2969B64}">
      <dgm:prSet/>
      <dgm:spPr/>
      <dgm:t>
        <a:bodyPr/>
        <a:lstStyle/>
        <a:p>
          <a:endParaRPr lang="en-US"/>
        </a:p>
      </dgm:t>
    </dgm:pt>
    <dgm:pt modelId="{2F9C0F17-49DD-42C5-BDB1-8A9FBDB4A6E2}">
      <dgm:prSet custT="1"/>
      <dgm:spPr/>
      <dgm:t>
        <a:bodyPr/>
        <a:lstStyle/>
        <a:p>
          <a:r>
            <a:rPr lang="en-US" sz="1800" dirty="0" smtClean="0"/>
            <a:t>BI</a:t>
          </a:r>
          <a:endParaRPr lang="en-US" sz="1800" dirty="0"/>
        </a:p>
      </dgm:t>
    </dgm:pt>
    <dgm:pt modelId="{FCE0624E-F889-4444-96F4-BC75D5552EE4}" type="parTrans" cxnId="{5461A038-6BE6-4207-AAB4-21E2E6712048}">
      <dgm:prSet/>
      <dgm:spPr/>
      <dgm:t>
        <a:bodyPr/>
        <a:lstStyle/>
        <a:p>
          <a:endParaRPr lang="en-US"/>
        </a:p>
      </dgm:t>
    </dgm:pt>
    <dgm:pt modelId="{D2F3B50D-BE3C-49F4-8E6D-4B84158E27D8}" type="sibTrans" cxnId="{5461A038-6BE6-4207-AAB4-21E2E6712048}">
      <dgm:prSet/>
      <dgm:spPr/>
      <dgm:t>
        <a:bodyPr/>
        <a:lstStyle/>
        <a:p>
          <a:endParaRPr lang="en-US"/>
        </a:p>
      </dgm:t>
    </dgm:pt>
    <dgm:pt modelId="{68D4237F-E751-438C-812E-B9D1E606C565}">
      <dgm:prSet custT="1"/>
      <dgm:spPr>
        <a:solidFill>
          <a:schemeClr val="bg2"/>
        </a:solidFill>
      </dgm:spPr>
      <dgm:t>
        <a:bodyPr/>
        <a:lstStyle/>
        <a:p>
          <a:r>
            <a:rPr lang="en-US" sz="1800" dirty="0" smtClean="0"/>
            <a:t>Microsoft</a:t>
          </a:r>
          <a:endParaRPr lang="en-US" sz="1800" dirty="0"/>
        </a:p>
      </dgm:t>
    </dgm:pt>
    <dgm:pt modelId="{03ABDBDB-58DA-4F57-A56C-D4339ECCBA9D}" type="parTrans" cxnId="{949529B4-E120-4E5A-AD8B-FC6A4218929D}">
      <dgm:prSet/>
      <dgm:spPr/>
      <dgm:t>
        <a:bodyPr/>
        <a:lstStyle/>
        <a:p>
          <a:endParaRPr lang="en-US"/>
        </a:p>
      </dgm:t>
    </dgm:pt>
    <dgm:pt modelId="{33B71AED-1528-49B7-BCF1-7FFCA7A22A0C}" type="sibTrans" cxnId="{949529B4-E120-4E5A-AD8B-FC6A4218929D}">
      <dgm:prSet/>
      <dgm:spPr/>
      <dgm:t>
        <a:bodyPr/>
        <a:lstStyle/>
        <a:p>
          <a:endParaRPr lang="en-US"/>
        </a:p>
      </dgm:t>
    </dgm:pt>
    <dgm:pt modelId="{15314709-1EE8-4CF6-8546-18906945F332}">
      <dgm:prSet custT="1"/>
      <dgm:spPr/>
      <dgm:t>
        <a:bodyPr/>
        <a:lstStyle/>
        <a:p>
          <a:r>
            <a:rPr lang="en-US" sz="1800" dirty="0" smtClean="0"/>
            <a:t>Java etc</a:t>
          </a:r>
          <a:endParaRPr lang="en-US" sz="1800" dirty="0"/>
        </a:p>
      </dgm:t>
    </dgm:pt>
    <dgm:pt modelId="{75EBD301-BE02-4679-AEA7-871ADA404FC3}" type="parTrans" cxnId="{A611FDCE-5158-4048-B419-1DC595A0EC45}">
      <dgm:prSet/>
      <dgm:spPr/>
      <dgm:t>
        <a:bodyPr/>
        <a:lstStyle/>
        <a:p>
          <a:endParaRPr lang="en-US"/>
        </a:p>
      </dgm:t>
    </dgm:pt>
    <dgm:pt modelId="{249FCEFE-BE7D-4A52-8272-6CBDA27229C4}" type="sibTrans" cxnId="{A611FDCE-5158-4048-B419-1DC595A0EC45}">
      <dgm:prSet/>
      <dgm:spPr/>
      <dgm:t>
        <a:bodyPr/>
        <a:lstStyle/>
        <a:p>
          <a:endParaRPr lang="en-US"/>
        </a:p>
      </dgm:t>
    </dgm:pt>
    <dgm:pt modelId="{1BABFCD2-4BF4-42F1-8658-A184EFF5E79A}">
      <dgm:prSet/>
      <dgm:spPr>
        <a:solidFill>
          <a:schemeClr val="bg2"/>
        </a:solidFill>
      </dgm:spPr>
      <dgm:t>
        <a:bodyPr/>
        <a:lstStyle/>
        <a:p>
          <a:r>
            <a:rPr lang="en-US" dirty="0" smtClean="0"/>
            <a:t>Enterprise Learning Services (ELS) </a:t>
          </a:r>
          <a:endParaRPr lang="en-US" dirty="0"/>
        </a:p>
      </dgm:t>
    </dgm:pt>
    <dgm:pt modelId="{7032B7E9-49A9-49C6-B49F-761F3BCC437D}" type="parTrans" cxnId="{7066082D-1FED-4E37-A71C-13E5D7F4AB3E}">
      <dgm:prSet/>
      <dgm:spPr/>
      <dgm:t>
        <a:bodyPr/>
        <a:lstStyle/>
        <a:p>
          <a:endParaRPr lang="en-US"/>
        </a:p>
      </dgm:t>
    </dgm:pt>
    <dgm:pt modelId="{BF4C7AB9-74E6-4409-AB33-DA8D7B0B4B8F}" type="sibTrans" cxnId="{7066082D-1FED-4E37-A71C-13E5D7F4AB3E}">
      <dgm:prSet/>
      <dgm:spPr/>
      <dgm:t>
        <a:bodyPr/>
        <a:lstStyle/>
        <a:p>
          <a:endParaRPr lang="en-US"/>
        </a:p>
      </dgm:t>
    </dgm:pt>
    <dgm:pt modelId="{45699304-8F13-46AE-9E5D-5A6FDB893A6A}" type="pres">
      <dgm:prSet presAssocID="{4D79FBC7-936A-43C9-B177-40F98CC2565A}" presName="hierChild1" presStyleCnt="0">
        <dgm:presLayoutVars>
          <dgm:orgChart val="1"/>
          <dgm:chPref val="1"/>
          <dgm:dir/>
          <dgm:animOne val="branch"/>
          <dgm:animLvl val="lvl"/>
          <dgm:resizeHandles/>
        </dgm:presLayoutVars>
      </dgm:prSet>
      <dgm:spPr/>
    </dgm:pt>
    <dgm:pt modelId="{4197ED4A-0D93-4095-A18F-DDE92899BB93}" type="pres">
      <dgm:prSet presAssocID="{2DA53642-2A66-4187-8A40-BBD439CA8A9A}" presName="hierRoot1" presStyleCnt="0">
        <dgm:presLayoutVars>
          <dgm:hierBranch val="init"/>
        </dgm:presLayoutVars>
      </dgm:prSet>
      <dgm:spPr/>
    </dgm:pt>
    <dgm:pt modelId="{21B487FD-6CDA-468F-B06D-09D856775990}" type="pres">
      <dgm:prSet presAssocID="{2DA53642-2A66-4187-8A40-BBD439CA8A9A}" presName="rootComposite1" presStyleCnt="0"/>
      <dgm:spPr/>
    </dgm:pt>
    <dgm:pt modelId="{3A7687FB-E5CF-464B-8EFE-D19BA45B711D}" type="pres">
      <dgm:prSet presAssocID="{2DA53642-2A66-4187-8A40-BBD439CA8A9A}" presName="rootText1" presStyleLbl="node0" presStyleIdx="0" presStyleCnt="1">
        <dgm:presLayoutVars>
          <dgm:chPref val="3"/>
        </dgm:presLayoutVars>
      </dgm:prSet>
      <dgm:spPr/>
    </dgm:pt>
    <dgm:pt modelId="{3B3B669F-B4BB-4C7D-909A-51945B2471B2}" type="pres">
      <dgm:prSet presAssocID="{2DA53642-2A66-4187-8A40-BBD439CA8A9A}" presName="rootConnector1" presStyleLbl="node1" presStyleIdx="0" presStyleCnt="0"/>
      <dgm:spPr/>
    </dgm:pt>
    <dgm:pt modelId="{CFE12947-9988-4D10-8F5F-39CFAB342CB4}" type="pres">
      <dgm:prSet presAssocID="{2DA53642-2A66-4187-8A40-BBD439CA8A9A}" presName="hierChild2" presStyleCnt="0"/>
      <dgm:spPr/>
    </dgm:pt>
    <dgm:pt modelId="{4B12810E-F2A2-4F8A-9C7E-864759F33936}" type="pres">
      <dgm:prSet presAssocID="{AB045F32-1986-4548-8472-887FAC2A1A95}" presName="Name37" presStyleLbl="parChTrans1D2" presStyleIdx="0" presStyleCnt="5"/>
      <dgm:spPr/>
    </dgm:pt>
    <dgm:pt modelId="{0D558A3A-DAF5-4B1A-9423-B96F9DB9868F}" type="pres">
      <dgm:prSet presAssocID="{1BF654EF-9503-42F8-8497-6526CBBE27CB}" presName="hierRoot2" presStyleCnt="0">
        <dgm:presLayoutVars>
          <dgm:hierBranch val="init"/>
        </dgm:presLayoutVars>
      </dgm:prSet>
      <dgm:spPr/>
    </dgm:pt>
    <dgm:pt modelId="{A81F16E4-45FE-4D83-AD8C-112EABBFA1B0}" type="pres">
      <dgm:prSet presAssocID="{1BF654EF-9503-42F8-8497-6526CBBE27CB}" presName="rootComposite" presStyleCnt="0"/>
      <dgm:spPr/>
    </dgm:pt>
    <dgm:pt modelId="{6083EB23-586D-4B21-9D78-908F1FD2C7E5}" type="pres">
      <dgm:prSet presAssocID="{1BF654EF-9503-42F8-8497-6526CBBE27CB}" presName="rootText" presStyleLbl="node2" presStyleIdx="0" presStyleCnt="5">
        <dgm:presLayoutVars>
          <dgm:chPref val="3"/>
        </dgm:presLayoutVars>
      </dgm:prSet>
      <dgm:spPr/>
      <dgm:t>
        <a:bodyPr/>
        <a:lstStyle/>
        <a:p>
          <a:endParaRPr lang="en-US"/>
        </a:p>
      </dgm:t>
    </dgm:pt>
    <dgm:pt modelId="{B6D51242-B0FF-446A-8274-B8620F36C9A0}" type="pres">
      <dgm:prSet presAssocID="{1BF654EF-9503-42F8-8497-6526CBBE27CB}" presName="rootConnector" presStyleLbl="node2" presStyleIdx="0" presStyleCnt="5"/>
      <dgm:spPr/>
    </dgm:pt>
    <dgm:pt modelId="{0B32AA75-2DC4-4E95-B32E-5E42AD7FC3EB}" type="pres">
      <dgm:prSet presAssocID="{1BF654EF-9503-42F8-8497-6526CBBE27CB}" presName="hierChild4" presStyleCnt="0"/>
      <dgm:spPr/>
    </dgm:pt>
    <dgm:pt modelId="{4AA411C6-CA82-4C6D-954C-2F2D52B940B9}" type="pres">
      <dgm:prSet presAssocID="{E2D62F41-73C4-472C-A1C4-76CE8A75909D}" presName="Name37" presStyleLbl="parChTrans1D3" presStyleIdx="0" presStyleCnt="3"/>
      <dgm:spPr/>
    </dgm:pt>
    <dgm:pt modelId="{FCEB0567-97E5-492B-8D7C-0B3822AF2D2C}" type="pres">
      <dgm:prSet presAssocID="{DAF793C4-DFB0-4F06-BD79-5C7B4A58F930}" presName="hierRoot2" presStyleCnt="0">
        <dgm:presLayoutVars>
          <dgm:hierBranch val="init"/>
        </dgm:presLayoutVars>
      </dgm:prSet>
      <dgm:spPr/>
    </dgm:pt>
    <dgm:pt modelId="{161CCB44-0C7F-4783-9964-2964E7B4E2ED}" type="pres">
      <dgm:prSet presAssocID="{DAF793C4-DFB0-4F06-BD79-5C7B4A58F930}" presName="rootComposite" presStyleCnt="0"/>
      <dgm:spPr/>
    </dgm:pt>
    <dgm:pt modelId="{9E1A0757-55D8-4683-8B48-8011E62C633F}" type="pres">
      <dgm:prSet presAssocID="{DAF793C4-DFB0-4F06-BD79-5C7B4A58F930}" presName="rootText" presStyleLbl="node3" presStyleIdx="0" presStyleCnt="3">
        <dgm:presLayoutVars>
          <dgm:chPref val="3"/>
        </dgm:presLayoutVars>
      </dgm:prSet>
      <dgm:spPr/>
      <dgm:t>
        <a:bodyPr/>
        <a:lstStyle/>
        <a:p>
          <a:endParaRPr lang="en-US"/>
        </a:p>
      </dgm:t>
    </dgm:pt>
    <dgm:pt modelId="{5729912D-D831-422F-AF49-B87BCD9AE887}" type="pres">
      <dgm:prSet presAssocID="{DAF793C4-DFB0-4F06-BD79-5C7B4A58F930}" presName="rootConnector" presStyleLbl="node3" presStyleIdx="0" presStyleCnt="3"/>
      <dgm:spPr/>
    </dgm:pt>
    <dgm:pt modelId="{EC6EBB0E-E87D-4F8C-B826-34140034AA48}" type="pres">
      <dgm:prSet presAssocID="{DAF793C4-DFB0-4F06-BD79-5C7B4A58F930}" presName="hierChild4" presStyleCnt="0"/>
      <dgm:spPr/>
    </dgm:pt>
    <dgm:pt modelId="{76887A83-86B4-4194-A9B2-54C27AF90053}" type="pres">
      <dgm:prSet presAssocID="{03ABDBDB-58DA-4F57-A56C-D4339ECCBA9D}" presName="Name37" presStyleLbl="parChTrans1D4" presStyleIdx="0" presStyleCnt="3"/>
      <dgm:spPr/>
    </dgm:pt>
    <dgm:pt modelId="{F2F4B932-2DC4-4750-8ABA-998453A163A8}" type="pres">
      <dgm:prSet presAssocID="{68D4237F-E751-438C-812E-B9D1E606C565}" presName="hierRoot2" presStyleCnt="0">
        <dgm:presLayoutVars>
          <dgm:hierBranch val="init"/>
        </dgm:presLayoutVars>
      </dgm:prSet>
      <dgm:spPr/>
    </dgm:pt>
    <dgm:pt modelId="{82177056-ACB5-43C5-9F56-4BB817229DBE}" type="pres">
      <dgm:prSet presAssocID="{68D4237F-E751-438C-812E-B9D1E606C565}" presName="rootComposite" presStyleCnt="0"/>
      <dgm:spPr/>
    </dgm:pt>
    <dgm:pt modelId="{DAC8FC56-988B-4E94-9CAB-26D4D75D8E87}" type="pres">
      <dgm:prSet presAssocID="{68D4237F-E751-438C-812E-B9D1E606C565}" presName="rootText" presStyleLbl="node4" presStyleIdx="0" presStyleCnt="3">
        <dgm:presLayoutVars>
          <dgm:chPref val="3"/>
        </dgm:presLayoutVars>
      </dgm:prSet>
      <dgm:spPr/>
    </dgm:pt>
    <dgm:pt modelId="{D4B22399-E699-41D4-964E-8420EB098C24}" type="pres">
      <dgm:prSet presAssocID="{68D4237F-E751-438C-812E-B9D1E606C565}" presName="rootConnector" presStyleLbl="node4" presStyleIdx="0" presStyleCnt="3"/>
      <dgm:spPr/>
    </dgm:pt>
    <dgm:pt modelId="{DA5EC634-79D0-49B0-B21E-8F0D87B52651}" type="pres">
      <dgm:prSet presAssocID="{68D4237F-E751-438C-812E-B9D1E606C565}" presName="hierChild4" presStyleCnt="0"/>
      <dgm:spPr/>
    </dgm:pt>
    <dgm:pt modelId="{34ECEF73-F47B-452B-8E82-5802F2618B8F}" type="pres">
      <dgm:prSet presAssocID="{7032B7E9-49A9-49C6-B49F-761F3BCC437D}" presName="Name37" presStyleLbl="parChTrans1D4" presStyleIdx="1" presStyleCnt="3"/>
      <dgm:spPr/>
    </dgm:pt>
    <dgm:pt modelId="{7536D7C1-6D04-4C39-B79D-ECA3436C6BA8}" type="pres">
      <dgm:prSet presAssocID="{1BABFCD2-4BF4-42F1-8658-A184EFF5E79A}" presName="hierRoot2" presStyleCnt="0">
        <dgm:presLayoutVars>
          <dgm:hierBranch val="init"/>
        </dgm:presLayoutVars>
      </dgm:prSet>
      <dgm:spPr/>
    </dgm:pt>
    <dgm:pt modelId="{FD3AAAAB-29A4-462A-B6F4-39D0744596BE}" type="pres">
      <dgm:prSet presAssocID="{1BABFCD2-4BF4-42F1-8658-A184EFF5E79A}" presName="rootComposite" presStyleCnt="0"/>
      <dgm:spPr/>
    </dgm:pt>
    <dgm:pt modelId="{189A368B-6188-4D74-A45C-E07439A74748}" type="pres">
      <dgm:prSet presAssocID="{1BABFCD2-4BF4-42F1-8658-A184EFF5E79A}" presName="rootText" presStyleLbl="node4" presStyleIdx="1" presStyleCnt="3" custScaleX="201158">
        <dgm:presLayoutVars>
          <dgm:chPref val="3"/>
        </dgm:presLayoutVars>
      </dgm:prSet>
      <dgm:spPr/>
    </dgm:pt>
    <dgm:pt modelId="{034B7C62-4E4F-44E7-B4A0-6D2C8959CC58}" type="pres">
      <dgm:prSet presAssocID="{1BABFCD2-4BF4-42F1-8658-A184EFF5E79A}" presName="rootConnector" presStyleLbl="node4" presStyleIdx="1" presStyleCnt="3"/>
      <dgm:spPr/>
    </dgm:pt>
    <dgm:pt modelId="{D1FCF4C7-1116-4635-A41D-C2214FCE5778}" type="pres">
      <dgm:prSet presAssocID="{1BABFCD2-4BF4-42F1-8658-A184EFF5E79A}" presName="hierChild4" presStyleCnt="0"/>
      <dgm:spPr/>
    </dgm:pt>
    <dgm:pt modelId="{CA72CB89-82B5-432E-A936-034E0C6F9DFF}" type="pres">
      <dgm:prSet presAssocID="{1BABFCD2-4BF4-42F1-8658-A184EFF5E79A}" presName="hierChild5" presStyleCnt="0"/>
      <dgm:spPr/>
    </dgm:pt>
    <dgm:pt modelId="{212477B8-FB17-4D17-970E-E702A738E97A}" type="pres">
      <dgm:prSet presAssocID="{68D4237F-E751-438C-812E-B9D1E606C565}" presName="hierChild5" presStyleCnt="0"/>
      <dgm:spPr/>
    </dgm:pt>
    <dgm:pt modelId="{6E91BA28-D626-46C8-83BD-4A3F9AF6BFD5}" type="pres">
      <dgm:prSet presAssocID="{75EBD301-BE02-4679-AEA7-871ADA404FC3}" presName="Name37" presStyleLbl="parChTrans1D4" presStyleIdx="2" presStyleCnt="3"/>
      <dgm:spPr/>
    </dgm:pt>
    <dgm:pt modelId="{AAAACE1E-F52F-4920-B344-1308AE84E1C6}" type="pres">
      <dgm:prSet presAssocID="{15314709-1EE8-4CF6-8546-18906945F332}" presName="hierRoot2" presStyleCnt="0">
        <dgm:presLayoutVars>
          <dgm:hierBranch val="init"/>
        </dgm:presLayoutVars>
      </dgm:prSet>
      <dgm:spPr/>
    </dgm:pt>
    <dgm:pt modelId="{D2A0AC30-F7B0-446C-AB2B-91AC0E94570F}" type="pres">
      <dgm:prSet presAssocID="{15314709-1EE8-4CF6-8546-18906945F332}" presName="rootComposite" presStyleCnt="0"/>
      <dgm:spPr/>
    </dgm:pt>
    <dgm:pt modelId="{2C9B5C99-CDD9-4C79-829C-37A88F1BF669}" type="pres">
      <dgm:prSet presAssocID="{15314709-1EE8-4CF6-8546-18906945F332}" presName="rootText" presStyleLbl="node4" presStyleIdx="2" presStyleCnt="3">
        <dgm:presLayoutVars>
          <dgm:chPref val="3"/>
        </dgm:presLayoutVars>
      </dgm:prSet>
      <dgm:spPr/>
    </dgm:pt>
    <dgm:pt modelId="{9151FEE0-9986-4CD4-94E1-3AA3CB09E10C}" type="pres">
      <dgm:prSet presAssocID="{15314709-1EE8-4CF6-8546-18906945F332}" presName="rootConnector" presStyleLbl="node4" presStyleIdx="2" presStyleCnt="3"/>
      <dgm:spPr/>
    </dgm:pt>
    <dgm:pt modelId="{A012768F-8D26-4D68-86A3-449FE7598B2D}" type="pres">
      <dgm:prSet presAssocID="{15314709-1EE8-4CF6-8546-18906945F332}" presName="hierChild4" presStyleCnt="0"/>
      <dgm:spPr/>
    </dgm:pt>
    <dgm:pt modelId="{3CF6EDCA-7A0B-4471-8E8A-D68A4F568C0F}" type="pres">
      <dgm:prSet presAssocID="{15314709-1EE8-4CF6-8546-18906945F332}" presName="hierChild5" presStyleCnt="0"/>
      <dgm:spPr/>
    </dgm:pt>
    <dgm:pt modelId="{B08964DA-3D20-402C-A6BE-36422D048B0A}" type="pres">
      <dgm:prSet presAssocID="{DAF793C4-DFB0-4F06-BD79-5C7B4A58F930}" presName="hierChild5" presStyleCnt="0"/>
      <dgm:spPr/>
    </dgm:pt>
    <dgm:pt modelId="{DC14592E-9CB7-403D-8B9C-9462C1FB5348}" type="pres">
      <dgm:prSet presAssocID="{5C791730-02DC-401E-8299-82480B229BE9}" presName="Name37" presStyleLbl="parChTrans1D3" presStyleIdx="1" presStyleCnt="3"/>
      <dgm:spPr/>
    </dgm:pt>
    <dgm:pt modelId="{94122BF6-0727-40FF-AE56-928EAFA1E2F4}" type="pres">
      <dgm:prSet presAssocID="{0B4CD3FB-3FEF-4616-BF65-C35D43A3B29F}" presName="hierRoot2" presStyleCnt="0">
        <dgm:presLayoutVars>
          <dgm:hierBranch val="init"/>
        </dgm:presLayoutVars>
      </dgm:prSet>
      <dgm:spPr/>
    </dgm:pt>
    <dgm:pt modelId="{4616E34B-0CB1-4B77-82FA-B45AAA595801}" type="pres">
      <dgm:prSet presAssocID="{0B4CD3FB-3FEF-4616-BF65-C35D43A3B29F}" presName="rootComposite" presStyleCnt="0"/>
      <dgm:spPr/>
    </dgm:pt>
    <dgm:pt modelId="{996FBA4F-31BA-43A4-A87F-DED5716232E6}" type="pres">
      <dgm:prSet presAssocID="{0B4CD3FB-3FEF-4616-BF65-C35D43A3B29F}" presName="rootText" presStyleLbl="node3" presStyleIdx="1" presStyleCnt="3">
        <dgm:presLayoutVars>
          <dgm:chPref val="3"/>
        </dgm:presLayoutVars>
      </dgm:prSet>
      <dgm:spPr/>
    </dgm:pt>
    <dgm:pt modelId="{8E0FCB49-08C3-417C-A8E6-3377F4A95740}" type="pres">
      <dgm:prSet presAssocID="{0B4CD3FB-3FEF-4616-BF65-C35D43A3B29F}" presName="rootConnector" presStyleLbl="node3" presStyleIdx="1" presStyleCnt="3"/>
      <dgm:spPr/>
    </dgm:pt>
    <dgm:pt modelId="{FCBC26E6-AB59-4F37-BB92-CA7C21161EE8}" type="pres">
      <dgm:prSet presAssocID="{0B4CD3FB-3FEF-4616-BF65-C35D43A3B29F}" presName="hierChild4" presStyleCnt="0"/>
      <dgm:spPr/>
    </dgm:pt>
    <dgm:pt modelId="{02043FA9-1502-40B0-BEED-5E265A4FC3E4}" type="pres">
      <dgm:prSet presAssocID="{0B4CD3FB-3FEF-4616-BF65-C35D43A3B29F}" presName="hierChild5" presStyleCnt="0"/>
      <dgm:spPr/>
    </dgm:pt>
    <dgm:pt modelId="{955A9EF3-8F7C-4042-BC3C-AA1E3316B79D}" type="pres">
      <dgm:prSet presAssocID="{FCE0624E-F889-4444-96F4-BC75D5552EE4}" presName="Name37" presStyleLbl="parChTrans1D3" presStyleIdx="2" presStyleCnt="3"/>
      <dgm:spPr/>
    </dgm:pt>
    <dgm:pt modelId="{54660E9C-6B0D-4282-B84E-0D38A4C113F6}" type="pres">
      <dgm:prSet presAssocID="{2F9C0F17-49DD-42C5-BDB1-8A9FBDB4A6E2}" presName="hierRoot2" presStyleCnt="0">
        <dgm:presLayoutVars>
          <dgm:hierBranch val="init"/>
        </dgm:presLayoutVars>
      </dgm:prSet>
      <dgm:spPr/>
    </dgm:pt>
    <dgm:pt modelId="{5A1DA9A3-0364-44C6-948C-7FB6C4B683E5}" type="pres">
      <dgm:prSet presAssocID="{2F9C0F17-49DD-42C5-BDB1-8A9FBDB4A6E2}" presName="rootComposite" presStyleCnt="0"/>
      <dgm:spPr/>
    </dgm:pt>
    <dgm:pt modelId="{8AD0E512-0F34-40F8-B109-F189D6B2F4D7}" type="pres">
      <dgm:prSet presAssocID="{2F9C0F17-49DD-42C5-BDB1-8A9FBDB4A6E2}" presName="rootText" presStyleLbl="node3" presStyleIdx="2" presStyleCnt="3">
        <dgm:presLayoutVars>
          <dgm:chPref val="3"/>
        </dgm:presLayoutVars>
      </dgm:prSet>
      <dgm:spPr/>
    </dgm:pt>
    <dgm:pt modelId="{48E203AB-2B70-4DFE-90B2-A1C83155A45F}" type="pres">
      <dgm:prSet presAssocID="{2F9C0F17-49DD-42C5-BDB1-8A9FBDB4A6E2}" presName="rootConnector" presStyleLbl="node3" presStyleIdx="2" presStyleCnt="3"/>
      <dgm:spPr/>
    </dgm:pt>
    <dgm:pt modelId="{EE00CD78-DA0D-4B1C-AF15-650647C792AE}" type="pres">
      <dgm:prSet presAssocID="{2F9C0F17-49DD-42C5-BDB1-8A9FBDB4A6E2}" presName="hierChild4" presStyleCnt="0"/>
      <dgm:spPr/>
    </dgm:pt>
    <dgm:pt modelId="{3A2CBCE7-019B-403B-AD3E-E0B5119F1D86}" type="pres">
      <dgm:prSet presAssocID="{2F9C0F17-49DD-42C5-BDB1-8A9FBDB4A6E2}" presName="hierChild5" presStyleCnt="0"/>
      <dgm:spPr/>
    </dgm:pt>
    <dgm:pt modelId="{D54EB879-FDBF-4E12-82E3-3907D13ABD31}" type="pres">
      <dgm:prSet presAssocID="{1BF654EF-9503-42F8-8497-6526CBBE27CB}" presName="hierChild5" presStyleCnt="0"/>
      <dgm:spPr/>
    </dgm:pt>
    <dgm:pt modelId="{7A34B900-74EF-462E-AC50-9BD363718F70}" type="pres">
      <dgm:prSet presAssocID="{35FD2D39-FFEB-454A-8337-17C9265191DD}" presName="Name37" presStyleLbl="parChTrans1D2" presStyleIdx="1" presStyleCnt="5"/>
      <dgm:spPr/>
    </dgm:pt>
    <dgm:pt modelId="{6069E807-5DBE-47EF-AFF8-DC6C6017951D}" type="pres">
      <dgm:prSet presAssocID="{D0F2C2D4-EB3A-4E69-B830-5FD720F746A2}" presName="hierRoot2" presStyleCnt="0">
        <dgm:presLayoutVars>
          <dgm:hierBranch val="init"/>
        </dgm:presLayoutVars>
      </dgm:prSet>
      <dgm:spPr/>
    </dgm:pt>
    <dgm:pt modelId="{95A4D257-5946-498D-8FA3-BC7441074166}" type="pres">
      <dgm:prSet presAssocID="{D0F2C2D4-EB3A-4E69-B830-5FD720F746A2}" presName="rootComposite" presStyleCnt="0"/>
      <dgm:spPr/>
    </dgm:pt>
    <dgm:pt modelId="{6C6656A4-EDA5-4ABA-9F2D-7D70A1A431D2}" type="pres">
      <dgm:prSet presAssocID="{D0F2C2D4-EB3A-4E69-B830-5FD720F746A2}" presName="rootText" presStyleLbl="node2" presStyleIdx="1" presStyleCnt="5">
        <dgm:presLayoutVars>
          <dgm:chPref val="3"/>
        </dgm:presLayoutVars>
      </dgm:prSet>
      <dgm:spPr/>
      <dgm:t>
        <a:bodyPr/>
        <a:lstStyle/>
        <a:p>
          <a:endParaRPr lang="en-US"/>
        </a:p>
      </dgm:t>
    </dgm:pt>
    <dgm:pt modelId="{6A4FCE71-840F-41AE-96A4-AC423EB932D0}" type="pres">
      <dgm:prSet presAssocID="{D0F2C2D4-EB3A-4E69-B830-5FD720F746A2}" presName="rootConnector" presStyleLbl="node2" presStyleIdx="1" presStyleCnt="5"/>
      <dgm:spPr/>
    </dgm:pt>
    <dgm:pt modelId="{567481FD-D406-487B-A728-52D1425FC3C2}" type="pres">
      <dgm:prSet presAssocID="{D0F2C2D4-EB3A-4E69-B830-5FD720F746A2}" presName="hierChild4" presStyleCnt="0"/>
      <dgm:spPr/>
    </dgm:pt>
    <dgm:pt modelId="{7069B20F-FD81-4CD9-A3CF-9FA2B5E1BBF2}" type="pres">
      <dgm:prSet presAssocID="{D0F2C2D4-EB3A-4E69-B830-5FD720F746A2}" presName="hierChild5" presStyleCnt="0"/>
      <dgm:spPr/>
    </dgm:pt>
    <dgm:pt modelId="{A503F2C4-F831-4D05-8A4E-DA488B3898CC}" type="pres">
      <dgm:prSet presAssocID="{B7BB7F17-D214-4304-AB7C-DFBE1EF2985D}" presName="Name37" presStyleLbl="parChTrans1D2" presStyleIdx="2" presStyleCnt="5"/>
      <dgm:spPr/>
    </dgm:pt>
    <dgm:pt modelId="{8B14D6A6-7EFB-4592-9CD6-26F87D7DFD12}" type="pres">
      <dgm:prSet presAssocID="{DED10DF8-E93F-45E5-82AE-D73E85D50635}" presName="hierRoot2" presStyleCnt="0">
        <dgm:presLayoutVars>
          <dgm:hierBranch val="init"/>
        </dgm:presLayoutVars>
      </dgm:prSet>
      <dgm:spPr/>
    </dgm:pt>
    <dgm:pt modelId="{40554D3D-87C6-4E06-ABFC-F0262AB85D92}" type="pres">
      <dgm:prSet presAssocID="{DED10DF8-E93F-45E5-82AE-D73E85D50635}" presName="rootComposite" presStyleCnt="0"/>
      <dgm:spPr/>
    </dgm:pt>
    <dgm:pt modelId="{095BDCB2-A7EB-4EBD-A909-30A2FA4A87F9}" type="pres">
      <dgm:prSet presAssocID="{DED10DF8-E93F-45E5-82AE-D73E85D50635}" presName="rootText" presStyleLbl="node2" presStyleIdx="2" presStyleCnt="5">
        <dgm:presLayoutVars>
          <dgm:chPref val="3"/>
        </dgm:presLayoutVars>
      </dgm:prSet>
      <dgm:spPr/>
      <dgm:t>
        <a:bodyPr/>
        <a:lstStyle/>
        <a:p>
          <a:endParaRPr lang="en-US"/>
        </a:p>
      </dgm:t>
    </dgm:pt>
    <dgm:pt modelId="{EA707AE8-2F63-4CEE-A097-E6FDC27E1BEB}" type="pres">
      <dgm:prSet presAssocID="{DED10DF8-E93F-45E5-82AE-D73E85D50635}" presName="rootConnector" presStyleLbl="node2" presStyleIdx="2" presStyleCnt="5"/>
      <dgm:spPr/>
    </dgm:pt>
    <dgm:pt modelId="{C3806A5D-9F85-4835-8154-256E186ABC67}" type="pres">
      <dgm:prSet presAssocID="{DED10DF8-E93F-45E5-82AE-D73E85D50635}" presName="hierChild4" presStyleCnt="0"/>
      <dgm:spPr/>
    </dgm:pt>
    <dgm:pt modelId="{9D8FFB83-D112-42B2-9096-3F5218919D8A}" type="pres">
      <dgm:prSet presAssocID="{DED10DF8-E93F-45E5-82AE-D73E85D50635}" presName="hierChild5" presStyleCnt="0"/>
      <dgm:spPr/>
    </dgm:pt>
    <dgm:pt modelId="{A750D14C-145A-4E1D-B854-3B412AB30329}" type="pres">
      <dgm:prSet presAssocID="{EC3C005E-AEA7-4EB5-93C8-465306035A47}" presName="Name37" presStyleLbl="parChTrans1D2" presStyleIdx="3" presStyleCnt="5"/>
      <dgm:spPr/>
    </dgm:pt>
    <dgm:pt modelId="{98E43C82-EE94-4320-B2A6-57FB068FC2A7}" type="pres">
      <dgm:prSet presAssocID="{989D513A-ED7E-4ED6-9EFD-186757700DA1}" presName="hierRoot2" presStyleCnt="0">
        <dgm:presLayoutVars>
          <dgm:hierBranch val="init"/>
        </dgm:presLayoutVars>
      </dgm:prSet>
      <dgm:spPr/>
    </dgm:pt>
    <dgm:pt modelId="{09DF2D47-1BE6-401F-95E1-A2E355F4DB62}" type="pres">
      <dgm:prSet presAssocID="{989D513A-ED7E-4ED6-9EFD-186757700DA1}" presName="rootComposite" presStyleCnt="0"/>
      <dgm:spPr/>
    </dgm:pt>
    <dgm:pt modelId="{89196FAE-833C-4B20-91C6-01A1E2A14E19}" type="pres">
      <dgm:prSet presAssocID="{989D513A-ED7E-4ED6-9EFD-186757700DA1}" presName="rootText" presStyleLbl="node2" presStyleIdx="3" presStyleCnt="5">
        <dgm:presLayoutVars>
          <dgm:chPref val="3"/>
        </dgm:presLayoutVars>
      </dgm:prSet>
      <dgm:spPr/>
    </dgm:pt>
    <dgm:pt modelId="{6A52FACB-EB6E-421B-B735-D2283A3AD2BA}" type="pres">
      <dgm:prSet presAssocID="{989D513A-ED7E-4ED6-9EFD-186757700DA1}" presName="rootConnector" presStyleLbl="node2" presStyleIdx="3" presStyleCnt="5"/>
      <dgm:spPr/>
    </dgm:pt>
    <dgm:pt modelId="{639DA1F5-664E-4798-864F-BC019D20827E}" type="pres">
      <dgm:prSet presAssocID="{989D513A-ED7E-4ED6-9EFD-186757700DA1}" presName="hierChild4" presStyleCnt="0"/>
      <dgm:spPr/>
    </dgm:pt>
    <dgm:pt modelId="{0CB5657C-BFED-4083-9BF7-9D783EE9F72A}" type="pres">
      <dgm:prSet presAssocID="{989D513A-ED7E-4ED6-9EFD-186757700DA1}" presName="hierChild5" presStyleCnt="0"/>
      <dgm:spPr/>
    </dgm:pt>
    <dgm:pt modelId="{373C1E96-F3AE-42E9-B5EF-03F21F91DD26}" type="pres">
      <dgm:prSet presAssocID="{0A72DBAF-E577-447E-A762-BDFB1F389AE9}" presName="Name37" presStyleLbl="parChTrans1D2" presStyleIdx="4" presStyleCnt="5"/>
      <dgm:spPr/>
    </dgm:pt>
    <dgm:pt modelId="{99607AD1-A07D-46A0-8862-1AD4F5B19256}" type="pres">
      <dgm:prSet presAssocID="{13DBCD1B-0A8F-421E-A9E1-58751A5C1DB6}" presName="hierRoot2" presStyleCnt="0">
        <dgm:presLayoutVars>
          <dgm:hierBranch val="init"/>
        </dgm:presLayoutVars>
      </dgm:prSet>
      <dgm:spPr/>
    </dgm:pt>
    <dgm:pt modelId="{67D08169-8C12-463E-BA6B-73E775226F96}" type="pres">
      <dgm:prSet presAssocID="{13DBCD1B-0A8F-421E-A9E1-58751A5C1DB6}" presName="rootComposite" presStyleCnt="0"/>
      <dgm:spPr/>
    </dgm:pt>
    <dgm:pt modelId="{4963D32F-8B54-4091-8CBC-6FE67471E84E}" type="pres">
      <dgm:prSet presAssocID="{13DBCD1B-0A8F-421E-A9E1-58751A5C1DB6}" presName="rootText" presStyleLbl="node2" presStyleIdx="4" presStyleCnt="5">
        <dgm:presLayoutVars>
          <dgm:chPref val="3"/>
        </dgm:presLayoutVars>
      </dgm:prSet>
      <dgm:spPr/>
      <dgm:t>
        <a:bodyPr/>
        <a:lstStyle/>
        <a:p>
          <a:endParaRPr lang="en-US"/>
        </a:p>
      </dgm:t>
    </dgm:pt>
    <dgm:pt modelId="{7C3939C0-9203-4716-A868-16E948B95D8F}" type="pres">
      <dgm:prSet presAssocID="{13DBCD1B-0A8F-421E-A9E1-58751A5C1DB6}" presName="rootConnector" presStyleLbl="node2" presStyleIdx="4" presStyleCnt="5"/>
      <dgm:spPr/>
    </dgm:pt>
    <dgm:pt modelId="{D1285F5C-0E3D-45A0-9C87-6F38177309F5}" type="pres">
      <dgm:prSet presAssocID="{13DBCD1B-0A8F-421E-A9E1-58751A5C1DB6}" presName="hierChild4" presStyleCnt="0"/>
      <dgm:spPr/>
    </dgm:pt>
    <dgm:pt modelId="{762C91C7-DE50-4E3B-B2EA-686A6185C356}" type="pres">
      <dgm:prSet presAssocID="{13DBCD1B-0A8F-421E-A9E1-58751A5C1DB6}" presName="hierChild5" presStyleCnt="0"/>
      <dgm:spPr/>
    </dgm:pt>
    <dgm:pt modelId="{6310E3F8-1A4D-4535-B1C6-C66DD2E38270}" type="pres">
      <dgm:prSet presAssocID="{2DA53642-2A66-4187-8A40-BBD439CA8A9A}" presName="hierChild3" presStyleCnt="0"/>
      <dgm:spPr/>
    </dgm:pt>
  </dgm:ptLst>
  <dgm:cxnLst>
    <dgm:cxn modelId="{30292C86-B745-491D-BF37-DA54EE823308}" type="presOf" srcId="{15314709-1EE8-4CF6-8546-18906945F332}" destId="{2C9B5C99-CDD9-4C79-829C-37A88F1BF669}" srcOrd="0" destOrd="0" presId="urn:microsoft.com/office/officeart/2005/8/layout/orgChart1"/>
    <dgm:cxn modelId="{1EB36C6B-2B3D-4F37-B893-9DD2441A35E2}" type="presOf" srcId="{13DBCD1B-0A8F-421E-A9E1-58751A5C1DB6}" destId="{7C3939C0-9203-4716-A868-16E948B95D8F}" srcOrd="1" destOrd="0" presId="urn:microsoft.com/office/officeart/2005/8/layout/orgChart1"/>
    <dgm:cxn modelId="{949529B4-E120-4E5A-AD8B-FC6A4218929D}" srcId="{DAF793C4-DFB0-4F06-BD79-5C7B4A58F930}" destId="{68D4237F-E751-438C-812E-B9D1E606C565}" srcOrd="0" destOrd="0" parTransId="{03ABDBDB-58DA-4F57-A56C-D4339ECCBA9D}" sibTransId="{33B71AED-1528-49B7-BCF1-7FFCA7A22A0C}"/>
    <dgm:cxn modelId="{C1098C3B-DB08-4EA2-B945-1E24A7536EE3}" type="presOf" srcId="{2F9C0F17-49DD-42C5-BDB1-8A9FBDB4A6E2}" destId="{48E203AB-2B70-4DFE-90B2-A1C83155A45F}" srcOrd="1" destOrd="0" presId="urn:microsoft.com/office/officeart/2005/8/layout/orgChart1"/>
    <dgm:cxn modelId="{E8B6DCA5-1681-436B-934F-C368F7C5A713}" type="presOf" srcId="{1BABFCD2-4BF4-42F1-8658-A184EFF5E79A}" destId="{189A368B-6188-4D74-A45C-E07439A74748}" srcOrd="0" destOrd="0" presId="urn:microsoft.com/office/officeart/2005/8/layout/orgChart1"/>
    <dgm:cxn modelId="{F656DF3B-5258-4CC0-BD3F-9385A46EF222}" srcId="{2DA53642-2A66-4187-8A40-BBD439CA8A9A}" destId="{1BF654EF-9503-42F8-8497-6526CBBE27CB}" srcOrd="0" destOrd="0" parTransId="{AB045F32-1986-4548-8472-887FAC2A1A95}" sibTransId="{D485B9E5-EB7A-4F2A-8FE5-5EB64B9B3F2A}"/>
    <dgm:cxn modelId="{39F8CC4C-E6A0-4599-A609-3C96237D820D}" type="presOf" srcId="{68D4237F-E751-438C-812E-B9D1E606C565}" destId="{D4B22399-E699-41D4-964E-8420EB098C24}" srcOrd="1" destOrd="0" presId="urn:microsoft.com/office/officeart/2005/8/layout/orgChart1"/>
    <dgm:cxn modelId="{D25F672F-77AC-4180-8095-6E8C071E7D8A}" type="presOf" srcId="{15314709-1EE8-4CF6-8546-18906945F332}" destId="{9151FEE0-9986-4CD4-94E1-3AA3CB09E10C}" srcOrd="1" destOrd="0" presId="urn:microsoft.com/office/officeart/2005/8/layout/orgChart1"/>
    <dgm:cxn modelId="{45DF2621-C09E-4C68-9016-2DC88B11A09C}" srcId="{4D79FBC7-936A-43C9-B177-40F98CC2565A}" destId="{2DA53642-2A66-4187-8A40-BBD439CA8A9A}" srcOrd="0" destOrd="0" parTransId="{12926142-2184-4D86-90FC-45B0FA0BF0D1}" sibTransId="{B531F88B-74D6-433F-B0A6-CA9AD7659277}"/>
    <dgm:cxn modelId="{D9755EB4-E1A0-4CA7-9DE3-A6732BAE7009}" type="presOf" srcId="{0A72DBAF-E577-447E-A762-BDFB1F389AE9}" destId="{373C1E96-F3AE-42E9-B5EF-03F21F91DD26}" srcOrd="0" destOrd="0" presId="urn:microsoft.com/office/officeart/2005/8/layout/orgChart1"/>
    <dgm:cxn modelId="{857359EC-96CF-45F6-B048-D304007B3DFE}" type="presOf" srcId="{989D513A-ED7E-4ED6-9EFD-186757700DA1}" destId="{6A52FACB-EB6E-421B-B735-D2283A3AD2BA}" srcOrd="1" destOrd="0" presId="urn:microsoft.com/office/officeart/2005/8/layout/orgChart1"/>
    <dgm:cxn modelId="{861CA231-C77F-4129-8B32-E5B7D7BCFDB7}" srcId="{2DA53642-2A66-4187-8A40-BBD439CA8A9A}" destId="{DED10DF8-E93F-45E5-82AE-D73E85D50635}" srcOrd="2" destOrd="0" parTransId="{B7BB7F17-D214-4304-AB7C-DFBE1EF2985D}" sibTransId="{09EC4FB8-B49F-4340-A81E-5FFA3544D5CA}"/>
    <dgm:cxn modelId="{CC014C98-C823-4B5B-81DD-7079D3095AFE}" srcId="{1BF654EF-9503-42F8-8497-6526CBBE27CB}" destId="{DAF793C4-DFB0-4F06-BD79-5C7B4A58F930}" srcOrd="0" destOrd="0" parTransId="{E2D62F41-73C4-472C-A1C4-76CE8A75909D}" sibTransId="{EC00CAE1-1BFD-443C-BF96-7944E2BAD4F4}"/>
    <dgm:cxn modelId="{E23F59D5-7569-46C5-AD10-97CB26AB7161}" type="presOf" srcId="{DED10DF8-E93F-45E5-82AE-D73E85D50635}" destId="{095BDCB2-A7EB-4EBD-A909-30A2FA4A87F9}" srcOrd="0" destOrd="0" presId="urn:microsoft.com/office/officeart/2005/8/layout/orgChart1"/>
    <dgm:cxn modelId="{BA580361-0868-49F6-8BC2-C41D5FC21CC6}" type="presOf" srcId="{03ABDBDB-58DA-4F57-A56C-D4339ECCBA9D}" destId="{76887A83-86B4-4194-A9B2-54C27AF90053}" srcOrd="0" destOrd="0" presId="urn:microsoft.com/office/officeart/2005/8/layout/orgChart1"/>
    <dgm:cxn modelId="{5461A038-6BE6-4207-AAB4-21E2E6712048}" srcId="{1BF654EF-9503-42F8-8497-6526CBBE27CB}" destId="{2F9C0F17-49DD-42C5-BDB1-8A9FBDB4A6E2}" srcOrd="2" destOrd="0" parTransId="{FCE0624E-F889-4444-96F4-BC75D5552EE4}" sibTransId="{D2F3B50D-BE3C-49F4-8E6D-4B84158E27D8}"/>
    <dgm:cxn modelId="{92AEB468-0C87-4F57-87FD-F13920AAE284}" type="presOf" srcId="{EC3C005E-AEA7-4EB5-93C8-465306035A47}" destId="{A750D14C-145A-4E1D-B854-3B412AB30329}" srcOrd="0" destOrd="0" presId="urn:microsoft.com/office/officeart/2005/8/layout/orgChart1"/>
    <dgm:cxn modelId="{F49B6441-1CC7-480F-9A8E-5A9DE7EF6BFB}" type="presOf" srcId="{B7BB7F17-D214-4304-AB7C-DFBE1EF2985D}" destId="{A503F2C4-F831-4D05-8A4E-DA488B3898CC}" srcOrd="0" destOrd="0" presId="urn:microsoft.com/office/officeart/2005/8/layout/orgChart1"/>
    <dgm:cxn modelId="{A53DA537-67CE-4993-BF3C-D32084DCD73F}" type="presOf" srcId="{7032B7E9-49A9-49C6-B49F-761F3BCC437D}" destId="{34ECEF73-F47B-452B-8E82-5802F2618B8F}" srcOrd="0" destOrd="0" presId="urn:microsoft.com/office/officeart/2005/8/layout/orgChart1"/>
    <dgm:cxn modelId="{CBF7E31B-A4A6-499C-B479-574AAB0ABC08}" type="presOf" srcId="{1BF654EF-9503-42F8-8497-6526CBBE27CB}" destId="{6083EB23-586D-4B21-9D78-908F1FD2C7E5}" srcOrd="0" destOrd="0" presId="urn:microsoft.com/office/officeart/2005/8/layout/orgChart1"/>
    <dgm:cxn modelId="{3A362832-1649-4E64-82AE-DBCD877651B1}" type="presOf" srcId="{35FD2D39-FFEB-454A-8337-17C9265191DD}" destId="{7A34B900-74EF-462E-AC50-9BD363718F70}" srcOrd="0" destOrd="0" presId="urn:microsoft.com/office/officeart/2005/8/layout/orgChart1"/>
    <dgm:cxn modelId="{29907438-9282-4AE9-A892-0AB3EDB082E6}" type="presOf" srcId="{AB045F32-1986-4548-8472-887FAC2A1A95}" destId="{4B12810E-F2A2-4F8A-9C7E-864759F33936}" srcOrd="0" destOrd="0" presId="urn:microsoft.com/office/officeart/2005/8/layout/orgChart1"/>
    <dgm:cxn modelId="{88F3A0D4-4417-41A4-9B35-87CF684E5567}" type="presOf" srcId="{4D79FBC7-936A-43C9-B177-40F98CC2565A}" destId="{45699304-8F13-46AE-9E5D-5A6FDB893A6A}" srcOrd="0" destOrd="0" presId="urn:microsoft.com/office/officeart/2005/8/layout/orgChart1"/>
    <dgm:cxn modelId="{321BABDF-C753-4B5B-8774-9D1412A402AE}" srcId="{2DA53642-2A66-4187-8A40-BBD439CA8A9A}" destId="{989D513A-ED7E-4ED6-9EFD-186757700DA1}" srcOrd="3" destOrd="0" parTransId="{EC3C005E-AEA7-4EB5-93C8-465306035A47}" sibTransId="{A3DBF3C3-DCCC-4C9D-961C-8BA635C6AE69}"/>
    <dgm:cxn modelId="{81E81E47-8798-4CEB-8E39-BEB2D5308AFC}" type="presOf" srcId="{75EBD301-BE02-4679-AEA7-871ADA404FC3}" destId="{6E91BA28-D626-46C8-83BD-4A3F9AF6BFD5}" srcOrd="0" destOrd="0" presId="urn:microsoft.com/office/officeart/2005/8/layout/orgChart1"/>
    <dgm:cxn modelId="{CB2F4986-C9CF-4859-9E49-EE0E86057AE5}" type="presOf" srcId="{1BABFCD2-4BF4-42F1-8658-A184EFF5E79A}" destId="{034B7C62-4E4F-44E7-B4A0-6D2C8959CC58}" srcOrd="1" destOrd="0" presId="urn:microsoft.com/office/officeart/2005/8/layout/orgChart1"/>
    <dgm:cxn modelId="{3C1DF37D-E60C-45CB-84B3-0F080ECBF0CE}" type="presOf" srcId="{DAF793C4-DFB0-4F06-BD79-5C7B4A58F930}" destId="{5729912D-D831-422F-AF49-B87BCD9AE887}" srcOrd="1" destOrd="0" presId="urn:microsoft.com/office/officeart/2005/8/layout/orgChart1"/>
    <dgm:cxn modelId="{13E01C67-D30F-45AD-B38E-6706F8F3A5C4}" type="presOf" srcId="{5C791730-02DC-401E-8299-82480B229BE9}" destId="{DC14592E-9CB7-403D-8B9C-9462C1FB5348}" srcOrd="0" destOrd="0" presId="urn:microsoft.com/office/officeart/2005/8/layout/orgChart1"/>
    <dgm:cxn modelId="{410E9A45-F73B-41FD-BB56-D3ACC11054EB}" srcId="{2DA53642-2A66-4187-8A40-BBD439CA8A9A}" destId="{13DBCD1B-0A8F-421E-A9E1-58751A5C1DB6}" srcOrd="4" destOrd="0" parTransId="{0A72DBAF-E577-447E-A762-BDFB1F389AE9}" sibTransId="{22C49337-BCCB-4890-AB0D-6F06D9948505}"/>
    <dgm:cxn modelId="{B047205D-6F9A-432D-BC55-BD04361D4F77}" type="presOf" srcId="{DED10DF8-E93F-45E5-82AE-D73E85D50635}" destId="{EA707AE8-2F63-4CEE-A097-E6FDC27E1BEB}" srcOrd="1" destOrd="0" presId="urn:microsoft.com/office/officeart/2005/8/layout/orgChart1"/>
    <dgm:cxn modelId="{48929907-9F1D-4E9C-BAEF-152EC8C6366C}" type="presOf" srcId="{FCE0624E-F889-4444-96F4-BC75D5552EE4}" destId="{955A9EF3-8F7C-4042-BC3C-AA1E3316B79D}" srcOrd="0" destOrd="0" presId="urn:microsoft.com/office/officeart/2005/8/layout/orgChart1"/>
    <dgm:cxn modelId="{A611FDCE-5158-4048-B419-1DC595A0EC45}" srcId="{DAF793C4-DFB0-4F06-BD79-5C7B4A58F930}" destId="{15314709-1EE8-4CF6-8546-18906945F332}" srcOrd="1" destOrd="0" parTransId="{75EBD301-BE02-4679-AEA7-871ADA404FC3}" sibTransId="{249FCEFE-BE7D-4A52-8272-6CBDA27229C4}"/>
    <dgm:cxn modelId="{BB55A644-AB35-4724-88A8-E1CB9CD0B23D}" type="presOf" srcId="{2DA53642-2A66-4187-8A40-BBD439CA8A9A}" destId="{3A7687FB-E5CF-464B-8EFE-D19BA45B711D}" srcOrd="0" destOrd="0" presId="urn:microsoft.com/office/officeart/2005/8/layout/orgChart1"/>
    <dgm:cxn modelId="{F9443180-00BF-44C8-8574-3E1E1C5F9B2C}" type="presOf" srcId="{D0F2C2D4-EB3A-4E69-B830-5FD720F746A2}" destId="{6C6656A4-EDA5-4ABA-9F2D-7D70A1A431D2}" srcOrd="0" destOrd="0" presId="urn:microsoft.com/office/officeart/2005/8/layout/orgChart1"/>
    <dgm:cxn modelId="{9464E0CD-FC06-4FA5-AE99-FF9C88DB43BF}" type="presOf" srcId="{DAF793C4-DFB0-4F06-BD79-5C7B4A58F930}" destId="{9E1A0757-55D8-4683-8B48-8011E62C633F}" srcOrd="0" destOrd="0" presId="urn:microsoft.com/office/officeart/2005/8/layout/orgChart1"/>
    <dgm:cxn modelId="{65980BA6-5D76-4235-ABAF-DE67B5969D3A}" type="presOf" srcId="{0B4CD3FB-3FEF-4616-BF65-C35D43A3B29F}" destId="{8E0FCB49-08C3-417C-A8E6-3377F4A95740}" srcOrd="1" destOrd="0" presId="urn:microsoft.com/office/officeart/2005/8/layout/orgChart1"/>
    <dgm:cxn modelId="{51883B2A-5081-4163-8AD6-B57E6B52117E}" type="presOf" srcId="{68D4237F-E751-438C-812E-B9D1E606C565}" destId="{DAC8FC56-988B-4E94-9CAB-26D4D75D8E87}" srcOrd="0" destOrd="0" presId="urn:microsoft.com/office/officeart/2005/8/layout/orgChart1"/>
    <dgm:cxn modelId="{80FB4A48-AEE5-401A-9451-F144B8051655}" type="presOf" srcId="{2DA53642-2A66-4187-8A40-BBD439CA8A9A}" destId="{3B3B669F-B4BB-4C7D-909A-51945B2471B2}" srcOrd="1" destOrd="0" presId="urn:microsoft.com/office/officeart/2005/8/layout/orgChart1"/>
    <dgm:cxn modelId="{7066082D-1FED-4E37-A71C-13E5D7F4AB3E}" srcId="{68D4237F-E751-438C-812E-B9D1E606C565}" destId="{1BABFCD2-4BF4-42F1-8658-A184EFF5E79A}" srcOrd="0" destOrd="0" parTransId="{7032B7E9-49A9-49C6-B49F-761F3BCC437D}" sibTransId="{BF4C7AB9-74E6-4409-AB33-DA8D7B0B4B8F}"/>
    <dgm:cxn modelId="{FB5C5BCF-D108-4C01-9576-9BED6213EAD4}" srcId="{2DA53642-2A66-4187-8A40-BBD439CA8A9A}" destId="{D0F2C2D4-EB3A-4E69-B830-5FD720F746A2}" srcOrd="1" destOrd="0" parTransId="{35FD2D39-FFEB-454A-8337-17C9265191DD}" sibTransId="{2AAD61CD-9FB4-43D8-B7B9-976121CCBB9A}"/>
    <dgm:cxn modelId="{242BCD79-F298-421D-A1D5-B885A2969B64}" srcId="{1BF654EF-9503-42F8-8497-6526CBBE27CB}" destId="{0B4CD3FB-3FEF-4616-BF65-C35D43A3B29F}" srcOrd="1" destOrd="0" parTransId="{5C791730-02DC-401E-8299-82480B229BE9}" sibTransId="{97D5296D-28DE-408E-8736-54C84D7E9DE8}"/>
    <dgm:cxn modelId="{780251F5-AF4A-4F70-8462-282FD15A54EA}" type="presOf" srcId="{0B4CD3FB-3FEF-4616-BF65-C35D43A3B29F}" destId="{996FBA4F-31BA-43A4-A87F-DED5716232E6}" srcOrd="0" destOrd="0" presId="urn:microsoft.com/office/officeart/2005/8/layout/orgChart1"/>
    <dgm:cxn modelId="{9E9312F9-39DF-4CCF-85A2-08B248786AB0}" type="presOf" srcId="{E2D62F41-73C4-472C-A1C4-76CE8A75909D}" destId="{4AA411C6-CA82-4C6D-954C-2F2D52B940B9}" srcOrd="0" destOrd="0" presId="urn:microsoft.com/office/officeart/2005/8/layout/orgChart1"/>
    <dgm:cxn modelId="{A1B1C486-8DE1-439C-9ED2-4AED9EAEA69F}" type="presOf" srcId="{989D513A-ED7E-4ED6-9EFD-186757700DA1}" destId="{89196FAE-833C-4B20-91C6-01A1E2A14E19}" srcOrd="0" destOrd="0" presId="urn:microsoft.com/office/officeart/2005/8/layout/orgChart1"/>
    <dgm:cxn modelId="{166FA13E-53C2-48CA-A317-0B9E1C83B8E0}" type="presOf" srcId="{D0F2C2D4-EB3A-4E69-B830-5FD720F746A2}" destId="{6A4FCE71-840F-41AE-96A4-AC423EB932D0}" srcOrd="1" destOrd="0" presId="urn:microsoft.com/office/officeart/2005/8/layout/orgChart1"/>
    <dgm:cxn modelId="{644540B8-EBA7-4CE2-BEA7-BF3653B5050E}" type="presOf" srcId="{13DBCD1B-0A8F-421E-A9E1-58751A5C1DB6}" destId="{4963D32F-8B54-4091-8CBC-6FE67471E84E}" srcOrd="0" destOrd="0" presId="urn:microsoft.com/office/officeart/2005/8/layout/orgChart1"/>
    <dgm:cxn modelId="{635E7573-85DF-4B54-B22F-E9543E97DAD3}" type="presOf" srcId="{2F9C0F17-49DD-42C5-BDB1-8A9FBDB4A6E2}" destId="{8AD0E512-0F34-40F8-B109-F189D6B2F4D7}" srcOrd="0" destOrd="0" presId="urn:microsoft.com/office/officeart/2005/8/layout/orgChart1"/>
    <dgm:cxn modelId="{42A14257-B049-4698-AFAD-338214CA1466}" type="presOf" srcId="{1BF654EF-9503-42F8-8497-6526CBBE27CB}" destId="{B6D51242-B0FF-446A-8274-B8620F36C9A0}" srcOrd="1" destOrd="0" presId="urn:microsoft.com/office/officeart/2005/8/layout/orgChart1"/>
    <dgm:cxn modelId="{0F65ED81-9614-4556-B34F-A1404CFD7685}" type="presParOf" srcId="{45699304-8F13-46AE-9E5D-5A6FDB893A6A}" destId="{4197ED4A-0D93-4095-A18F-DDE92899BB93}" srcOrd="0" destOrd="0" presId="urn:microsoft.com/office/officeart/2005/8/layout/orgChart1"/>
    <dgm:cxn modelId="{8F02D37A-461C-4179-9D95-0574D6C0B2DA}" type="presParOf" srcId="{4197ED4A-0D93-4095-A18F-DDE92899BB93}" destId="{21B487FD-6CDA-468F-B06D-09D856775990}" srcOrd="0" destOrd="0" presId="urn:microsoft.com/office/officeart/2005/8/layout/orgChart1"/>
    <dgm:cxn modelId="{02A2CDC6-82FA-47BF-BA7E-CABAA707D3A8}" type="presParOf" srcId="{21B487FD-6CDA-468F-B06D-09D856775990}" destId="{3A7687FB-E5CF-464B-8EFE-D19BA45B711D}" srcOrd="0" destOrd="0" presId="urn:microsoft.com/office/officeart/2005/8/layout/orgChart1"/>
    <dgm:cxn modelId="{CD96C049-DE21-481F-BEB0-4EC63F7CE5B4}" type="presParOf" srcId="{21B487FD-6CDA-468F-B06D-09D856775990}" destId="{3B3B669F-B4BB-4C7D-909A-51945B2471B2}" srcOrd="1" destOrd="0" presId="urn:microsoft.com/office/officeart/2005/8/layout/orgChart1"/>
    <dgm:cxn modelId="{C1AD5CBF-FAE0-41A2-ACFA-654F963B3305}" type="presParOf" srcId="{4197ED4A-0D93-4095-A18F-DDE92899BB93}" destId="{CFE12947-9988-4D10-8F5F-39CFAB342CB4}" srcOrd="1" destOrd="0" presId="urn:microsoft.com/office/officeart/2005/8/layout/orgChart1"/>
    <dgm:cxn modelId="{EAC95675-966D-4054-B894-BBBD49392EF5}" type="presParOf" srcId="{CFE12947-9988-4D10-8F5F-39CFAB342CB4}" destId="{4B12810E-F2A2-4F8A-9C7E-864759F33936}" srcOrd="0" destOrd="0" presId="urn:microsoft.com/office/officeart/2005/8/layout/orgChart1"/>
    <dgm:cxn modelId="{A14ECFED-D376-47FF-B373-B4CAEB24BEAE}" type="presParOf" srcId="{CFE12947-9988-4D10-8F5F-39CFAB342CB4}" destId="{0D558A3A-DAF5-4B1A-9423-B96F9DB9868F}" srcOrd="1" destOrd="0" presId="urn:microsoft.com/office/officeart/2005/8/layout/orgChart1"/>
    <dgm:cxn modelId="{DDABCE40-D7F9-4EA7-9904-55D015154087}" type="presParOf" srcId="{0D558A3A-DAF5-4B1A-9423-B96F9DB9868F}" destId="{A81F16E4-45FE-4D83-AD8C-112EABBFA1B0}" srcOrd="0" destOrd="0" presId="urn:microsoft.com/office/officeart/2005/8/layout/orgChart1"/>
    <dgm:cxn modelId="{533030B3-3699-4000-8857-0CE5D9E51438}" type="presParOf" srcId="{A81F16E4-45FE-4D83-AD8C-112EABBFA1B0}" destId="{6083EB23-586D-4B21-9D78-908F1FD2C7E5}" srcOrd="0" destOrd="0" presId="urn:microsoft.com/office/officeart/2005/8/layout/orgChart1"/>
    <dgm:cxn modelId="{53AEB877-6895-4A8A-A12C-7C194900E62F}" type="presParOf" srcId="{A81F16E4-45FE-4D83-AD8C-112EABBFA1B0}" destId="{B6D51242-B0FF-446A-8274-B8620F36C9A0}" srcOrd="1" destOrd="0" presId="urn:microsoft.com/office/officeart/2005/8/layout/orgChart1"/>
    <dgm:cxn modelId="{B07A202A-1C5F-434A-BB83-21E23643DC71}" type="presParOf" srcId="{0D558A3A-DAF5-4B1A-9423-B96F9DB9868F}" destId="{0B32AA75-2DC4-4E95-B32E-5E42AD7FC3EB}" srcOrd="1" destOrd="0" presId="urn:microsoft.com/office/officeart/2005/8/layout/orgChart1"/>
    <dgm:cxn modelId="{5C4929BA-FE9C-425B-9B43-C672BAF6873C}" type="presParOf" srcId="{0B32AA75-2DC4-4E95-B32E-5E42AD7FC3EB}" destId="{4AA411C6-CA82-4C6D-954C-2F2D52B940B9}" srcOrd="0" destOrd="0" presId="urn:microsoft.com/office/officeart/2005/8/layout/orgChart1"/>
    <dgm:cxn modelId="{F3A6510C-51FB-48BC-BCD3-47811D485219}" type="presParOf" srcId="{0B32AA75-2DC4-4E95-B32E-5E42AD7FC3EB}" destId="{FCEB0567-97E5-492B-8D7C-0B3822AF2D2C}" srcOrd="1" destOrd="0" presId="urn:microsoft.com/office/officeart/2005/8/layout/orgChart1"/>
    <dgm:cxn modelId="{EF9B05F9-0806-4825-9140-782610A2E5A2}" type="presParOf" srcId="{FCEB0567-97E5-492B-8D7C-0B3822AF2D2C}" destId="{161CCB44-0C7F-4783-9964-2964E7B4E2ED}" srcOrd="0" destOrd="0" presId="urn:microsoft.com/office/officeart/2005/8/layout/orgChart1"/>
    <dgm:cxn modelId="{5DCBE9F3-3D3A-4A32-86B3-8EB59CD101A6}" type="presParOf" srcId="{161CCB44-0C7F-4783-9964-2964E7B4E2ED}" destId="{9E1A0757-55D8-4683-8B48-8011E62C633F}" srcOrd="0" destOrd="0" presId="urn:microsoft.com/office/officeart/2005/8/layout/orgChart1"/>
    <dgm:cxn modelId="{9F6D85AC-D6D4-4614-8814-225AC3CA2608}" type="presParOf" srcId="{161CCB44-0C7F-4783-9964-2964E7B4E2ED}" destId="{5729912D-D831-422F-AF49-B87BCD9AE887}" srcOrd="1" destOrd="0" presId="urn:microsoft.com/office/officeart/2005/8/layout/orgChart1"/>
    <dgm:cxn modelId="{A8C1DFF0-7927-4F5E-A047-9D53E6F070B9}" type="presParOf" srcId="{FCEB0567-97E5-492B-8D7C-0B3822AF2D2C}" destId="{EC6EBB0E-E87D-4F8C-B826-34140034AA48}" srcOrd="1" destOrd="0" presId="urn:microsoft.com/office/officeart/2005/8/layout/orgChart1"/>
    <dgm:cxn modelId="{AF0CE4E4-3A8A-4372-9DB9-2626FE41C4F6}" type="presParOf" srcId="{EC6EBB0E-E87D-4F8C-B826-34140034AA48}" destId="{76887A83-86B4-4194-A9B2-54C27AF90053}" srcOrd="0" destOrd="0" presId="urn:microsoft.com/office/officeart/2005/8/layout/orgChart1"/>
    <dgm:cxn modelId="{11004E61-43B4-4226-BE15-EBEE06300AC8}" type="presParOf" srcId="{EC6EBB0E-E87D-4F8C-B826-34140034AA48}" destId="{F2F4B932-2DC4-4750-8ABA-998453A163A8}" srcOrd="1" destOrd="0" presId="urn:microsoft.com/office/officeart/2005/8/layout/orgChart1"/>
    <dgm:cxn modelId="{8B365C77-7E45-4439-9F9D-8607C04048CE}" type="presParOf" srcId="{F2F4B932-2DC4-4750-8ABA-998453A163A8}" destId="{82177056-ACB5-43C5-9F56-4BB817229DBE}" srcOrd="0" destOrd="0" presId="urn:microsoft.com/office/officeart/2005/8/layout/orgChart1"/>
    <dgm:cxn modelId="{8D7CECE4-8FEF-40FA-A088-6597D235A880}" type="presParOf" srcId="{82177056-ACB5-43C5-9F56-4BB817229DBE}" destId="{DAC8FC56-988B-4E94-9CAB-26D4D75D8E87}" srcOrd="0" destOrd="0" presId="urn:microsoft.com/office/officeart/2005/8/layout/orgChart1"/>
    <dgm:cxn modelId="{73E9244D-287D-4DC1-90E6-80A49B2F3C75}" type="presParOf" srcId="{82177056-ACB5-43C5-9F56-4BB817229DBE}" destId="{D4B22399-E699-41D4-964E-8420EB098C24}" srcOrd="1" destOrd="0" presId="urn:microsoft.com/office/officeart/2005/8/layout/orgChart1"/>
    <dgm:cxn modelId="{2C1420B2-65D0-4517-BD6A-8F2E09A1F9B9}" type="presParOf" srcId="{F2F4B932-2DC4-4750-8ABA-998453A163A8}" destId="{DA5EC634-79D0-49B0-B21E-8F0D87B52651}" srcOrd="1" destOrd="0" presId="urn:microsoft.com/office/officeart/2005/8/layout/orgChart1"/>
    <dgm:cxn modelId="{23F33853-63E9-4092-8E01-CB61E26FD6BE}" type="presParOf" srcId="{DA5EC634-79D0-49B0-B21E-8F0D87B52651}" destId="{34ECEF73-F47B-452B-8E82-5802F2618B8F}" srcOrd="0" destOrd="0" presId="urn:microsoft.com/office/officeart/2005/8/layout/orgChart1"/>
    <dgm:cxn modelId="{1C90396C-643D-41BD-8445-7B05A95049E8}" type="presParOf" srcId="{DA5EC634-79D0-49B0-B21E-8F0D87B52651}" destId="{7536D7C1-6D04-4C39-B79D-ECA3436C6BA8}" srcOrd="1" destOrd="0" presId="urn:microsoft.com/office/officeart/2005/8/layout/orgChart1"/>
    <dgm:cxn modelId="{D2B9B035-F963-466F-99D1-5ECA626ACCE5}" type="presParOf" srcId="{7536D7C1-6D04-4C39-B79D-ECA3436C6BA8}" destId="{FD3AAAAB-29A4-462A-B6F4-39D0744596BE}" srcOrd="0" destOrd="0" presId="urn:microsoft.com/office/officeart/2005/8/layout/orgChart1"/>
    <dgm:cxn modelId="{E45ACC9F-CBD9-49FE-8689-CB28E05BDAA6}" type="presParOf" srcId="{FD3AAAAB-29A4-462A-B6F4-39D0744596BE}" destId="{189A368B-6188-4D74-A45C-E07439A74748}" srcOrd="0" destOrd="0" presId="urn:microsoft.com/office/officeart/2005/8/layout/orgChart1"/>
    <dgm:cxn modelId="{6416FF13-2CCA-435B-AB1D-5B9858E2260D}" type="presParOf" srcId="{FD3AAAAB-29A4-462A-B6F4-39D0744596BE}" destId="{034B7C62-4E4F-44E7-B4A0-6D2C8959CC58}" srcOrd="1" destOrd="0" presId="urn:microsoft.com/office/officeart/2005/8/layout/orgChart1"/>
    <dgm:cxn modelId="{93F1A7EE-BE5D-4EC2-ADC7-BFE2D548EB6A}" type="presParOf" srcId="{7536D7C1-6D04-4C39-B79D-ECA3436C6BA8}" destId="{D1FCF4C7-1116-4635-A41D-C2214FCE5778}" srcOrd="1" destOrd="0" presId="urn:microsoft.com/office/officeart/2005/8/layout/orgChart1"/>
    <dgm:cxn modelId="{1C9FBC71-8390-4C28-A8C5-CAD49DF8A9F1}" type="presParOf" srcId="{7536D7C1-6D04-4C39-B79D-ECA3436C6BA8}" destId="{CA72CB89-82B5-432E-A936-034E0C6F9DFF}" srcOrd="2" destOrd="0" presId="urn:microsoft.com/office/officeart/2005/8/layout/orgChart1"/>
    <dgm:cxn modelId="{ABC9D524-D873-4203-9B87-FC1ED46FDEF4}" type="presParOf" srcId="{F2F4B932-2DC4-4750-8ABA-998453A163A8}" destId="{212477B8-FB17-4D17-970E-E702A738E97A}" srcOrd="2" destOrd="0" presId="urn:microsoft.com/office/officeart/2005/8/layout/orgChart1"/>
    <dgm:cxn modelId="{D121EC7D-5982-4777-B6BA-F09BEA01D19B}" type="presParOf" srcId="{EC6EBB0E-E87D-4F8C-B826-34140034AA48}" destId="{6E91BA28-D626-46C8-83BD-4A3F9AF6BFD5}" srcOrd="2" destOrd="0" presId="urn:microsoft.com/office/officeart/2005/8/layout/orgChart1"/>
    <dgm:cxn modelId="{101F761E-CD07-4392-870C-2BF0839CF50B}" type="presParOf" srcId="{EC6EBB0E-E87D-4F8C-B826-34140034AA48}" destId="{AAAACE1E-F52F-4920-B344-1308AE84E1C6}" srcOrd="3" destOrd="0" presId="urn:microsoft.com/office/officeart/2005/8/layout/orgChart1"/>
    <dgm:cxn modelId="{4EFC2029-0A25-40DB-8335-9E5F588177E8}" type="presParOf" srcId="{AAAACE1E-F52F-4920-B344-1308AE84E1C6}" destId="{D2A0AC30-F7B0-446C-AB2B-91AC0E94570F}" srcOrd="0" destOrd="0" presId="urn:microsoft.com/office/officeart/2005/8/layout/orgChart1"/>
    <dgm:cxn modelId="{B500A1A6-52D4-4097-A1B1-DB493E18445A}" type="presParOf" srcId="{D2A0AC30-F7B0-446C-AB2B-91AC0E94570F}" destId="{2C9B5C99-CDD9-4C79-829C-37A88F1BF669}" srcOrd="0" destOrd="0" presId="urn:microsoft.com/office/officeart/2005/8/layout/orgChart1"/>
    <dgm:cxn modelId="{F5DDBD5A-F1EF-4C8F-8F72-268CF4E19FEE}" type="presParOf" srcId="{D2A0AC30-F7B0-446C-AB2B-91AC0E94570F}" destId="{9151FEE0-9986-4CD4-94E1-3AA3CB09E10C}" srcOrd="1" destOrd="0" presId="urn:microsoft.com/office/officeart/2005/8/layout/orgChart1"/>
    <dgm:cxn modelId="{7BCB7D4C-233B-45C6-9BD2-F10E3085FFD6}" type="presParOf" srcId="{AAAACE1E-F52F-4920-B344-1308AE84E1C6}" destId="{A012768F-8D26-4D68-86A3-449FE7598B2D}" srcOrd="1" destOrd="0" presId="urn:microsoft.com/office/officeart/2005/8/layout/orgChart1"/>
    <dgm:cxn modelId="{1A6AB8CD-201F-4864-8FFA-3761D29E6BFA}" type="presParOf" srcId="{AAAACE1E-F52F-4920-B344-1308AE84E1C6}" destId="{3CF6EDCA-7A0B-4471-8E8A-D68A4F568C0F}" srcOrd="2" destOrd="0" presId="urn:microsoft.com/office/officeart/2005/8/layout/orgChart1"/>
    <dgm:cxn modelId="{1CEB80EF-081B-4C98-9286-8DE583B15B9C}" type="presParOf" srcId="{FCEB0567-97E5-492B-8D7C-0B3822AF2D2C}" destId="{B08964DA-3D20-402C-A6BE-36422D048B0A}" srcOrd="2" destOrd="0" presId="urn:microsoft.com/office/officeart/2005/8/layout/orgChart1"/>
    <dgm:cxn modelId="{B53F44F9-83E6-46D8-BA23-54EAE596E239}" type="presParOf" srcId="{0B32AA75-2DC4-4E95-B32E-5E42AD7FC3EB}" destId="{DC14592E-9CB7-403D-8B9C-9462C1FB5348}" srcOrd="2" destOrd="0" presId="urn:microsoft.com/office/officeart/2005/8/layout/orgChart1"/>
    <dgm:cxn modelId="{07DED89D-AEB7-40DE-BF74-B41CFE38EFC0}" type="presParOf" srcId="{0B32AA75-2DC4-4E95-B32E-5E42AD7FC3EB}" destId="{94122BF6-0727-40FF-AE56-928EAFA1E2F4}" srcOrd="3" destOrd="0" presId="urn:microsoft.com/office/officeart/2005/8/layout/orgChart1"/>
    <dgm:cxn modelId="{E10B369B-F820-4C58-A6CC-810408DA9E67}" type="presParOf" srcId="{94122BF6-0727-40FF-AE56-928EAFA1E2F4}" destId="{4616E34B-0CB1-4B77-82FA-B45AAA595801}" srcOrd="0" destOrd="0" presId="urn:microsoft.com/office/officeart/2005/8/layout/orgChart1"/>
    <dgm:cxn modelId="{F644C2D7-8CCF-4D20-B1C9-0BDF220B8161}" type="presParOf" srcId="{4616E34B-0CB1-4B77-82FA-B45AAA595801}" destId="{996FBA4F-31BA-43A4-A87F-DED5716232E6}" srcOrd="0" destOrd="0" presId="urn:microsoft.com/office/officeart/2005/8/layout/orgChart1"/>
    <dgm:cxn modelId="{EE52A367-D21A-471D-BD78-BB88A05428FA}" type="presParOf" srcId="{4616E34B-0CB1-4B77-82FA-B45AAA595801}" destId="{8E0FCB49-08C3-417C-A8E6-3377F4A95740}" srcOrd="1" destOrd="0" presId="urn:microsoft.com/office/officeart/2005/8/layout/orgChart1"/>
    <dgm:cxn modelId="{7996A82E-5DF5-46CF-95CF-16DE7288A97B}" type="presParOf" srcId="{94122BF6-0727-40FF-AE56-928EAFA1E2F4}" destId="{FCBC26E6-AB59-4F37-BB92-CA7C21161EE8}" srcOrd="1" destOrd="0" presId="urn:microsoft.com/office/officeart/2005/8/layout/orgChart1"/>
    <dgm:cxn modelId="{EF8418A7-0EB3-43F6-BDD2-EC0BB467F085}" type="presParOf" srcId="{94122BF6-0727-40FF-AE56-928EAFA1E2F4}" destId="{02043FA9-1502-40B0-BEED-5E265A4FC3E4}" srcOrd="2" destOrd="0" presId="urn:microsoft.com/office/officeart/2005/8/layout/orgChart1"/>
    <dgm:cxn modelId="{C0FC2F27-E4A6-45F0-9160-D0BC73D912E2}" type="presParOf" srcId="{0B32AA75-2DC4-4E95-B32E-5E42AD7FC3EB}" destId="{955A9EF3-8F7C-4042-BC3C-AA1E3316B79D}" srcOrd="4" destOrd="0" presId="urn:microsoft.com/office/officeart/2005/8/layout/orgChart1"/>
    <dgm:cxn modelId="{31B9D11B-C851-4525-8C76-179D04C32517}" type="presParOf" srcId="{0B32AA75-2DC4-4E95-B32E-5E42AD7FC3EB}" destId="{54660E9C-6B0D-4282-B84E-0D38A4C113F6}" srcOrd="5" destOrd="0" presId="urn:microsoft.com/office/officeart/2005/8/layout/orgChart1"/>
    <dgm:cxn modelId="{AB132EC2-4F5B-41B8-A549-7B143A1BAA71}" type="presParOf" srcId="{54660E9C-6B0D-4282-B84E-0D38A4C113F6}" destId="{5A1DA9A3-0364-44C6-948C-7FB6C4B683E5}" srcOrd="0" destOrd="0" presId="urn:microsoft.com/office/officeart/2005/8/layout/orgChart1"/>
    <dgm:cxn modelId="{5A340879-153E-4DE2-A088-EFCA444C3CDB}" type="presParOf" srcId="{5A1DA9A3-0364-44C6-948C-7FB6C4B683E5}" destId="{8AD0E512-0F34-40F8-B109-F189D6B2F4D7}" srcOrd="0" destOrd="0" presId="urn:microsoft.com/office/officeart/2005/8/layout/orgChart1"/>
    <dgm:cxn modelId="{AB6EA9DD-AC70-4B7C-9CD6-8CF460124A3E}" type="presParOf" srcId="{5A1DA9A3-0364-44C6-948C-7FB6C4B683E5}" destId="{48E203AB-2B70-4DFE-90B2-A1C83155A45F}" srcOrd="1" destOrd="0" presId="urn:microsoft.com/office/officeart/2005/8/layout/orgChart1"/>
    <dgm:cxn modelId="{8FD8568B-580A-4E0F-B8F1-DB280F1A41B6}" type="presParOf" srcId="{54660E9C-6B0D-4282-B84E-0D38A4C113F6}" destId="{EE00CD78-DA0D-4B1C-AF15-650647C792AE}" srcOrd="1" destOrd="0" presId="urn:microsoft.com/office/officeart/2005/8/layout/orgChart1"/>
    <dgm:cxn modelId="{7AD0A999-7A1D-4C03-A262-C3AF922BF917}" type="presParOf" srcId="{54660E9C-6B0D-4282-B84E-0D38A4C113F6}" destId="{3A2CBCE7-019B-403B-AD3E-E0B5119F1D86}" srcOrd="2" destOrd="0" presId="urn:microsoft.com/office/officeart/2005/8/layout/orgChart1"/>
    <dgm:cxn modelId="{EE49D554-5681-48FB-BB7B-44B77EB96EED}" type="presParOf" srcId="{0D558A3A-DAF5-4B1A-9423-B96F9DB9868F}" destId="{D54EB879-FDBF-4E12-82E3-3907D13ABD31}" srcOrd="2" destOrd="0" presId="urn:microsoft.com/office/officeart/2005/8/layout/orgChart1"/>
    <dgm:cxn modelId="{E8B0AC75-488B-48D7-B356-05FE9CA48D47}" type="presParOf" srcId="{CFE12947-9988-4D10-8F5F-39CFAB342CB4}" destId="{7A34B900-74EF-462E-AC50-9BD363718F70}" srcOrd="2" destOrd="0" presId="urn:microsoft.com/office/officeart/2005/8/layout/orgChart1"/>
    <dgm:cxn modelId="{66E727DA-4948-4487-9F55-91342DBBFD3A}" type="presParOf" srcId="{CFE12947-9988-4D10-8F5F-39CFAB342CB4}" destId="{6069E807-5DBE-47EF-AFF8-DC6C6017951D}" srcOrd="3" destOrd="0" presId="urn:microsoft.com/office/officeart/2005/8/layout/orgChart1"/>
    <dgm:cxn modelId="{8118D3BC-B5A3-4B44-A943-AFF07B358138}" type="presParOf" srcId="{6069E807-5DBE-47EF-AFF8-DC6C6017951D}" destId="{95A4D257-5946-498D-8FA3-BC7441074166}" srcOrd="0" destOrd="0" presId="urn:microsoft.com/office/officeart/2005/8/layout/orgChart1"/>
    <dgm:cxn modelId="{2CA86D45-BE10-4BA6-A57D-A1B2FA55D81D}" type="presParOf" srcId="{95A4D257-5946-498D-8FA3-BC7441074166}" destId="{6C6656A4-EDA5-4ABA-9F2D-7D70A1A431D2}" srcOrd="0" destOrd="0" presId="urn:microsoft.com/office/officeart/2005/8/layout/orgChart1"/>
    <dgm:cxn modelId="{DFAF1050-790A-42AF-B16A-FE0993D630EF}" type="presParOf" srcId="{95A4D257-5946-498D-8FA3-BC7441074166}" destId="{6A4FCE71-840F-41AE-96A4-AC423EB932D0}" srcOrd="1" destOrd="0" presId="urn:microsoft.com/office/officeart/2005/8/layout/orgChart1"/>
    <dgm:cxn modelId="{C4384E94-BFE5-46F3-ABD0-384CAD4F6346}" type="presParOf" srcId="{6069E807-5DBE-47EF-AFF8-DC6C6017951D}" destId="{567481FD-D406-487B-A728-52D1425FC3C2}" srcOrd="1" destOrd="0" presId="urn:microsoft.com/office/officeart/2005/8/layout/orgChart1"/>
    <dgm:cxn modelId="{F5DBFFD2-4D59-472A-8450-9F4157B77693}" type="presParOf" srcId="{6069E807-5DBE-47EF-AFF8-DC6C6017951D}" destId="{7069B20F-FD81-4CD9-A3CF-9FA2B5E1BBF2}" srcOrd="2" destOrd="0" presId="urn:microsoft.com/office/officeart/2005/8/layout/orgChart1"/>
    <dgm:cxn modelId="{9503E6C0-3A41-468A-8FAD-84DE075F080B}" type="presParOf" srcId="{CFE12947-9988-4D10-8F5F-39CFAB342CB4}" destId="{A503F2C4-F831-4D05-8A4E-DA488B3898CC}" srcOrd="4" destOrd="0" presId="urn:microsoft.com/office/officeart/2005/8/layout/orgChart1"/>
    <dgm:cxn modelId="{D7EC24F8-725E-461D-B7B3-C71444E8080A}" type="presParOf" srcId="{CFE12947-9988-4D10-8F5F-39CFAB342CB4}" destId="{8B14D6A6-7EFB-4592-9CD6-26F87D7DFD12}" srcOrd="5" destOrd="0" presId="urn:microsoft.com/office/officeart/2005/8/layout/orgChart1"/>
    <dgm:cxn modelId="{96828DE0-ED1C-4CF0-BB03-3C4A779BAB0C}" type="presParOf" srcId="{8B14D6A6-7EFB-4592-9CD6-26F87D7DFD12}" destId="{40554D3D-87C6-4E06-ABFC-F0262AB85D92}" srcOrd="0" destOrd="0" presId="urn:microsoft.com/office/officeart/2005/8/layout/orgChart1"/>
    <dgm:cxn modelId="{017A98CC-FC63-470C-B540-09B81779B663}" type="presParOf" srcId="{40554D3D-87C6-4E06-ABFC-F0262AB85D92}" destId="{095BDCB2-A7EB-4EBD-A909-30A2FA4A87F9}" srcOrd="0" destOrd="0" presId="urn:microsoft.com/office/officeart/2005/8/layout/orgChart1"/>
    <dgm:cxn modelId="{9C97186E-9585-40A2-AA91-82AD7A8BAACF}" type="presParOf" srcId="{40554D3D-87C6-4E06-ABFC-F0262AB85D92}" destId="{EA707AE8-2F63-4CEE-A097-E6FDC27E1BEB}" srcOrd="1" destOrd="0" presId="urn:microsoft.com/office/officeart/2005/8/layout/orgChart1"/>
    <dgm:cxn modelId="{7E2B78AC-BB75-4D1D-BB4C-CBFCC116934E}" type="presParOf" srcId="{8B14D6A6-7EFB-4592-9CD6-26F87D7DFD12}" destId="{C3806A5D-9F85-4835-8154-256E186ABC67}" srcOrd="1" destOrd="0" presId="urn:microsoft.com/office/officeart/2005/8/layout/orgChart1"/>
    <dgm:cxn modelId="{8BBAE67D-61CB-4C7D-99ED-9F268E2449AD}" type="presParOf" srcId="{8B14D6A6-7EFB-4592-9CD6-26F87D7DFD12}" destId="{9D8FFB83-D112-42B2-9096-3F5218919D8A}" srcOrd="2" destOrd="0" presId="urn:microsoft.com/office/officeart/2005/8/layout/orgChart1"/>
    <dgm:cxn modelId="{D0A16D47-5DE9-41D6-B9A7-756C6CA08F0A}" type="presParOf" srcId="{CFE12947-9988-4D10-8F5F-39CFAB342CB4}" destId="{A750D14C-145A-4E1D-B854-3B412AB30329}" srcOrd="6" destOrd="0" presId="urn:microsoft.com/office/officeart/2005/8/layout/orgChart1"/>
    <dgm:cxn modelId="{15860F66-1B9D-4B5F-A09F-10B1346AA5F0}" type="presParOf" srcId="{CFE12947-9988-4D10-8F5F-39CFAB342CB4}" destId="{98E43C82-EE94-4320-B2A6-57FB068FC2A7}" srcOrd="7" destOrd="0" presId="urn:microsoft.com/office/officeart/2005/8/layout/orgChart1"/>
    <dgm:cxn modelId="{F391AE89-CC1D-4974-8B1A-F9430127E54C}" type="presParOf" srcId="{98E43C82-EE94-4320-B2A6-57FB068FC2A7}" destId="{09DF2D47-1BE6-401F-95E1-A2E355F4DB62}" srcOrd="0" destOrd="0" presId="urn:microsoft.com/office/officeart/2005/8/layout/orgChart1"/>
    <dgm:cxn modelId="{BF53E0CE-7E61-421F-BA41-D7F0F445BD13}" type="presParOf" srcId="{09DF2D47-1BE6-401F-95E1-A2E355F4DB62}" destId="{89196FAE-833C-4B20-91C6-01A1E2A14E19}" srcOrd="0" destOrd="0" presId="urn:microsoft.com/office/officeart/2005/8/layout/orgChart1"/>
    <dgm:cxn modelId="{CDE0D790-21E5-4E22-91C1-C190B678EFD9}" type="presParOf" srcId="{09DF2D47-1BE6-401F-95E1-A2E355F4DB62}" destId="{6A52FACB-EB6E-421B-B735-D2283A3AD2BA}" srcOrd="1" destOrd="0" presId="urn:microsoft.com/office/officeart/2005/8/layout/orgChart1"/>
    <dgm:cxn modelId="{59CBBD1F-3A49-4681-B496-0F839BBD3619}" type="presParOf" srcId="{98E43C82-EE94-4320-B2A6-57FB068FC2A7}" destId="{639DA1F5-664E-4798-864F-BC019D20827E}" srcOrd="1" destOrd="0" presId="urn:microsoft.com/office/officeart/2005/8/layout/orgChart1"/>
    <dgm:cxn modelId="{2EB445E5-A231-40A7-9363-E86ABABC9B4D}" type="presParOf" srcId="{98E43C82-EE94-4320-B2A6-57FB068FC2A7}" destId="{0CB5657C-BFED-4083-9BF7-9D783EE9F72A}" srcOrd="2" destOrd="0" presId="urn:microsoft.com/office/officeart/2005/8/layout/orgChart1"/>
    <dgm:cxn modelId="{6E429BFE-AABF-4F0D-A9E3-B4D72C245506}" type="presParOf" srcId="{CFE12947-9988-4D10-8F5F-39CFAB342CB4}" destId="{373C1E96-F3AE-42E9-B5EF-03F21F91DD26}" srcOrd="8" destOrd="0" presId="urn:microsoft.com/office/officeart/2005/8/layout/orgChart1"/>
    <dgm:cxn modelId="{EF513F4B-82CC-41FB-A4A8-9EAA82CD8E6A}" type="presParOf" srcId="{CFE12947-9988-4D10-8F5F-39CFAB342CB4}" destId="{99607AD1-A07D-46A0-8862-1AD4F5B19256}" srcOrd="9" destOrd="0" presId="urn:microsoft.com/office/officeart/2005/8/layout/orgChart1"/>
    <dgm:cxn modelId="{25E47D2D-95AC-4CD0-8D26-95EA0B6E6039}" type="presParOf" srcId="{99607AD1-A07D-46A0-8862-1AD4F5B19256}" destId="{67D08169-8C12-463E-BA6B-73E775226F96}" srcOrd="0" destOrd="0" presId="urn:microsoft.com/office/officeart/2005/8/layout/orgChart1"/>
    <dgm:cxn modelId="{B1978B10-591F-4D25-B30F-B3A96DEEA78C}" type="presParOf" srcId="{67D08169-8C12-463E-BA6B-73E775226F96}" destId="{4963D32F-8B54-4091-8CBC-6FE67471E84E}" srcOrd="0" destOrd="0" presId="urn:microsoft.com/office/officeart/2005/8/layout/orgChart1"/>
    <dgm:cxn modelId="{2036FF96-8431-47B5-9CB2-4670E9906F48}" type="presParOf" srcId="{67D08169-8C12-463E-BA6B-73E775226F96}" destId="{7C3939C0-9203-4716-A868-16E948B95D8F}" srcOrd="1" destOrd="0" presId="urn:microsoft.com/office/officeart/2005/8/layout/orgChart1"/>
    <dgm:cxn modelId="{2A3A238F-19C2-47BE-A2E8-CAEF3534AC65}" type="presParOf" srcId="{99607AD1-A07D-46A0-8862-1AD4F5B19256}" destId="{D1285F5C-0E3D-45A0-9C87-6F38177309F5}" srcOrd="1" destOrd="0" presId="urn:microsoft.com/office/officeart/2005/8/layout/orgChart1"/>
    <dgm:cxn modelId="{E2EAB49A-D1A6-4B1D-999E-73509FAFE9D5}" type="presParOf" srcId="{99607AD1-A07D-46A0-8862-1AD4F5B19256}" destId="{762C91C7-DE50-4E3B-B2EA-686A6185C356}" srcOrd="2" destOrd="0" presId="urn:microsoft.com/office/officeart/2005/8/layout/orgChart1"/>
    <dgm:cxn modelId="{619E94E3-65AD-4FE1-B57F-88225A63FC57}" type="presParOf" srcId="{4197ED4A-0D93-4095-A18F-DDE92899BB93}" destId="{6310E3F8-1A4D-4535-B1C6-C66DD2E38270}" srcOrd="2" destOrd="0" presId="urn:microsoft.com/office/officeart/2005/8/layout/orgChar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D79FBC7-936A-43C9-B177-40F98CC2565A}" type="doc">
      <dgm:prSet loTypeId="urn:microsoft.com/office/officeart/2005/8/layout/orgChart1" loCatId="hierarchy" qsTypeId="urn:microsoft.com/office/officeart/2005/8/quickstyle/simple1" qsCatId="simple" csTypeId="urn:microsoft.com/office/officeart/2005/8/colors/accent2_2" csCatId="accent2" phldr="1"/>
      <dgm:spPr/>
      <dgm:t>
        <a:bodyPr/>
        <a:lstStyle/>
        <a:p>
          <a:endParaRPr lang="en-US"/>
        </a:p>
      </dgm:t>
    </dgm:pt>
    <dgm:pt modelId="{1BABFCD2-4BF4-42F1-8658-A184EFF5E79A}">
      <dgm:prSet custT="1"/>
      <dgm:spPr>
        <a:solidFill>
          <a:srgbClr val="92D050"/>
        </a:solidFill>
      </dgm:spPr>
      <dgm:t>
        <a:bodyPr/>
        <a:lstStyle/>
        <a:p>
          <a:r>
            <a:rPr lang="en-US" sz="1800" b="1" dirty="0" smtClean="0"/>
            <a:t>Enterprise Learning Services (ELS)</a:t>
          </a:r>
          <a:endParaRPr lang="en-US" sz="1800" b="1" dirty="0"/>
        </a:p>
      </dgm:t>
    </dgm:pt>
    <dgm:pt modelId="{7032B7E9-49A9-49C6-B49F-761F3BCC437D}" type="parTrans" cxnId="{7066082D-1FED-4E37-A71C-13E5D7F4AB3E}">
      <dgm:prSet/>
      <dgm:spPr/>
      <dgm:t>
        <a:bodyPr/>
        <a:lstStyle/>
        <a:p>
          <a:endParaRPr lang="en-US"/>
        </a:p>
      </dgm:t>
    </dgm:pt>
    <dgm:pt modelId="{BF4C7AB9-74E6-4409-AB33-DA8D7B0B4B8F}" type="sibTrans" cxnId="{7066082D-1FED-4E37-A71C-13E5D7F4AB3E}">
      <dgm:prSet/>
      <dgm:spPr/>
      <dgm:t>
        <a:bodyPr/>
        <a:lstStyle/>
        <a:p>
          <a:endParaRPr lang="en-US"/>
        </a:p>
      </dgm:t>
    </dgm:pt>
    <dgm:pt modelId="{86547838-69F7-4923-BB03-43535479BC35}">
      <dgm:prSet custT="1"/>
      <dgm:spPr>
        <a:solidFill>
          <a:schemeClr val="bg2"/>
        </a:solidFill>
      </dgm:spPr>
      <dgm:t>
        <a:bodyPr/>
        <a:lstStyle/>
        <a:p>
          <a:r>
            <a:rPr lang="en-US" sz="1800" b="1" dirty="0" smtClean="0"/>
            <a:t>University </a:t>
          </a:r>
          <a:endParaRPr lang="en-US" sz="1800" b="1" dirty="0"/>
        </a:p>
      </dgm:t>
    </dgm:pt>
    <dgm:pt modelId="{5AADAF87-EA03-4601-94A2-F82BD37A675F}" type="parTrans" cxnId="{CC973D78-60FD-4876-8F0E-C6BA0123F64D}">
      <dgm:prSet/>
      <dgm:spPr/>
      <dgm:t>
        <a:bodyPr/>
        <a:lstStyle/>
        <a:p>
          <a:endParaRPr lang="en-US"/>
        </a:p>
      </dgm:t>
    </dgm:pt>
    <dgm:pt modelId="{35DF40C9-5443-47F5-B32E-F95AF8CAB3A7}" type="sibTrans" cxnId="{CC973D78-60FD-4876-8F0E-C6BA0123F64D}">
      <dgm:prSet/>
      <dgm:spPr/>
      <dgm:t>
        <a:bodyPr/>
        <a:lstStyle/>
        <a:p>
          <a:endParaRPr lang="en-US"/>
        </a:p>
      </dgm:t>
    </dgm:pt>
    <dgm:pt modelId="{A8493756-CDF1-4FC5-81D6-26852E483095}">
      <dgm:prSet custT="1"/>
      <dgm:spPr/>
      <dgm:t>
        <a:bodyPr/>
        <a:lstStyle/>
        <a:p>
          <a:r>
            <a:rPr lang="en-US" sz="1800" b="1" dirty="0" smtClean="0"/>
            <a:t>Non-University team</a:t>
          </a:r>
          <a:endParaRPr lang="en-US" sz="1800" b="1" dirty="0"/>
        </a:p>
      </dgm:t>
    </dgm:pt>
    <dgm:pt modelId="{0C6B81F3-7AA4-4DD2-86C9-2A878EDB2253}" type="parTrans" cxnId="{576AA538-0910-4DFB-BAF2-F3992EE94138}">
      <dgm:prSet/>
      <dgm:spPr/>
      <dgm:t>
        <a:bodyPr/>
        <a:lstStyle/>
        <a:p>
          <a:endParaRPr lang="en-US"/>
        </a:p>
      </dgm:t>
    </dgm:pt>
    <dgm:pt modelId="{32EFE70D-3B3C-463F-AC0C-7FB47904E771}" type="sibTrans" cxnId="{576AA538-0910-4DFB-BAF2-F3992EE94138}">
      <dgm:prSet/>
      <dgm:spPr/>
      <dgm:t>
        <a:bodyPr/>
        <a:lstStyle/>
        <a:p>
          <a:endParaRPr lang="en-US"/>
        </a:p>
      </dgm:t>
    </dgm:pt>
    <dgm:pt modelId="{45699304-8F13-46AE-9E5D-5A6FDB893A6A}" type="pres">
      <dgm:prSet presAssocID="{4D79FBC7-936A-43C9-B177-40F98CC2565A}" presName="hierChild1" presStyleCnt="0">
        <dgm:presLayoutVars>
          <dgm:orgChart val="1"/>
          <dgm:chPref val="1"/>
          <dgm:dir/>
          <dgm:animOne val="branch"/>
          <dgm:animLvl val="lvl"/>
          <dgm:resizeHandles/>
        </dgm:presLayoutVars>
      </dgm:prSet>
      <dgm:spPr/>
    </dgm:pt>
    <dgm:pt modelId="{127501D4-3D6F-4ECE-96DE-E42AEA65800C}" type="pres">
      <dgm:prSet presAssocID="{1BABFCD2-4BF4-42F1-8658-A184EFF5E79A}" presName="hierRoot1" presStyleCnt="0">
        <dgm:presLayoutVars>
          <dgm:hierBranch val="init"/>
        </dgm:presLayoutVars>
      </dgm:prSet>
      <dgm:spPr/>
    </dgm:pt>
    <dgm:pt modelId="{CB543B76-80E1-4FF8-BCC1-15F2AF25B6BB}" type="pres">
      <dgm:prSet presAssocID="{1BABFCD2-4BF4-42F1-8658-A184EFF5E79A}" presName="rootComposite1" presStyleCnt="0"/>
      <dgm:spPr/>
    </dgm:pt>
    <dgm:pt modelId="{D8157A57-F390-4CF1-A53B-9A2E465585C5}" type="pres">
      <dgm:prSet presAssocID="{1BABFCD2-4BF4-42F1-8658-A184EFF5E79A}" presName="rootText1" presStyleLbl="node0" presStyleIdx="0" presStyleCnt="1" custScaleX="252335" custLinFactY="-100000" custLinFactNeighborX="-4005" custLinFactNeighborY="-105607">
        <dgm:presLayoutVars>
          <dgm:chPref val="3"/>
        </dgm:presLayoutVars>
      </dgm:prSet>
      <dgm:spPr/>
      <dgm:t>
        <a:bodyPr/>
        <a:lstStyle/>
        <a:p>
          <a:endParaRPr lang="en-US"/>
        </a:p>
      </dgm:t>
    </dgm:pt>
    <dgm:pt modelId="{DDB33D7E-BBAC-48ED-A4B1-D2BAF2EC6E53}" type="pres">
      <dgm:prSet presAssocID="{1BABFCD2-4BF4-42F1-8658-A184EFF5E79A}" presName="rootConnector1" presStyleLbl="node1" presStyleIdx="0" presStyleCnt="0"/>
      <dgm:spPr/>
    </dgm:pt>
    <dgm:pt modelId="{D36E41FB-1EAD-4E11-980D-724EB89793E8}" type="pres">
      <dgm:prSet presAssocID="{1BABFCD2-4BF4-42F1-8658-A184EFF5E79A}" presName="hierChild2" presStyleCnt="0"/>
      <dgm:spPr/>
    </dgm:pt>
    <dgm:pt modelId="{6507565F-6879-4B90-89AF-B43891F0B51A}" type="pres">
      <dgm:prSet presAssocID="{5AADAF87-EA03-4601-94A2-F82BD37A675F}" presName="Name37" presStyleLbl="parChTrans1D2" presStyleIdx="0" presStyleCnt="2"/>
      <dgm:spPr/>
    </dgm:pt>
    <dgm:pt modelId="{E36E226A-06EA-44AE-8177-3B50DB95B817}" type="pres">
      <dgm:prSet presAssocID="{86547838-69F7-4923-BB03-43535479BC35}" presName="hierRoot2" presStyleCnt="0">
        <dgm:presLayoutVars>
          <dgm:hierBranch val="init"/>
        </dgm:presLayoutVars>
      </dgm:prSet>
      <dgm:spPr/>
    </dgm:pt>
    <dgm:pt modelId="{11CBC000-3ACB-43C7-B9FA-A4BF6542413F}" type="pres">
      <dgm:prSet presAssocID="{86547838-69F7-4923-BB03-43535479BC35}" presName="rootComposite" presStyleCnt="0"/>
      <dgm:spPr/>
    </dgm:pt>
    <dgm:pt modelId="{35E30C0E-B219-434F-8B2D-6A53522E0926}" type="pres">
      <dgm:prSet presAssocID="{86547838-69F7-4923-BB03-43535479BC35}" presName="rootText" presStyleLbl="node2" presStyleIdx="0" presStyleCnt="2">
        <dgm:presLayoutVars>
          <dgm:chPref val="3"/>
        </dgm:presLayoutVars>
      </dgm:prSet>
      <dgm:spPr/>
    </dgm:pt>
    <dgm:pt modelId="{A7AB3A6A-65FA-4155-A543-E03399355354}" type="pres">
      <dgm:prSet presAssocID="{86547838-69F7-4923-BB03-43535479BC35}" presName="rootConnector" presStyleLbl="node2" presStyleIdx="0" presStyleCnt="2"/>
      <dgm:spPr/>
    </dgm:pt>
    <dgm:pt modelId="{D67411FC-FD60-496D-A7D3-E07223F16ABA}" type="pres">
      <dgm:prSet presAssocID="{86547838-69F7-4923-BB03-43535479BC35}" presName="hierChild4" presStyleCnt="0"/>
      <dgm:spPr/>
    </dgm:pt>
    <dgm:pt modelId="{703C8858-551D-47DB-A85B-5F9DF28A7276}" type="pres">
      <dgm:prSet presAssocID="{86547838-69F7-4923-BB03-43535479BC35}" presName="hierChild5" presStyleCnt="0"/>
      <dgm:spPr/>
    </dgm:pt>
    <dgm:pt modelId="{B82C42FD-137E-4C85-8887-5016C171BD5F}" type="pres">
      <dgm:prSet presAssocID="{0C6B81F3-7AA4-4DD2-86C9-2A878EDB2253}" presName="Name37" presStyleLbl="parChTrans1D2" presStyleIdx="1" presStyleCnt="2"/>
      <dgm:spPr/>
    </dgm:pt>
    <dgm:pt modelId="{600BA243-BB45-4B7A-A739-A787848D9300}" type="pres">
      <dgm:prSet presAssocID="{A8493756-CDF1-4FC5-81D6-26852E483095}" presName="hierRoot2" presStyleCnt="0">
        <dgm:presLayoutVars>
          <dgm:hierBranch val="init"/>
        </dgm:presLayoutVars>
      </dgm:prSet>
      <dgm:spPr/>
    </dgm:pt>
    <dgm:pt modelId="{FA84C35F-2A97-40A9-BA5E-E025BC05CFAD}" type="pres">
      <dgm:prSet presAssocID="{A8493756-CDF1-4FC5-81D6-26852E483095}" presName="rootComposite" presStyleCnt="0"/>
      <dgm:spPr/>
    </dgm:pt>
    <dgm:pt modelId="{26B4F400-6934-4782-B4D9-7263BABFA7BC}" type="pres">
      <dgm:prSet presAssocID="{A8493756-CDF1-4FC5-81D6-26852E483095}" presName="rootText" presStyleLbl="node2" presStyleIdx="1" presStyleCnt="2">
        <dgm:presLayoutVars>
          <dgm:chPref val="3"/>
        </dgm:presLayoutVars>
      </dgm:prSet>
      <dgm:spPr/>
    </dgm:pt>
    <dgm:pt modelId="{3DBE92E2-B688-4EC6-AE3B-E321DFD957DE}" type="pres">
      <dgm:prSet presAssocID="{A8493756-CDF1-4FC5-81D6-26852E483095}" presName="rootConnector" presStyleLbl="node2" presStyleIdx="1" presStyleCnt="2"/>
      <dgm:spPr/>
    </dgm:pt>
    <dgm:pt modelId="{041A15A3-B7C7-4AC9-AED4-6EDA9C73D569}" type="pres">
      <dgm:prSet presAssocID="{A8493756-CDF1-4FC5-81D6-26852E483095}" presName="hierChild4" presStyleCnt="0"/>
      <dgm:spPr/>
    </dgm:pt>
    <dgm:pt modelId="{98A5A9F2-5F29-4D32-A2DA-E92C3F1255EF}" type="pres">
      <dgm:prSet presAssocID="{A8493756-CDF1-4FC5-81D6-26852E483095}" presName="hierChild5" presStyleCnt="0"/>
      <dgm:spPr/>
    </dgm:pt>
    <dgm:pt modelId="{FB4783DC-8C8B-4262-8410-F5FE52B4B032}" type="pres">
      <dgm:prSet presAssocID="{1BABFCD2-4BF4-42F1-8658-A184EFF5E79A}" presName="hierChild3" presStyleCnt="0"/>
      <dgm:spPr/>
    </dgm:pt>
  </dgm:ptLst>
  <dgm:cxnLst>
    <dgm:cxn modelId="{45C6A8FF-A0D9-4B92-B48E-E37766928BD2}" type="presOf" srcId="{1BABFCD2-4BF4-42F1-8658-A184EFF5E79A}" destId="{D8157A57-F390-4CF1-A53B-9A2E465585C5}" srcOrd="0" destOrd="0" presId="urn:microsoft.com/office/officeart/2005/8/layout/orgChart1"/>
    <dgm:cxn modelId="{78A5E61B-181E-4B67-B146-6C0EF37195BC}" type="presOf" srcId="{86547838-69F7-4923-BB03-43535479BC35}" destId="{35E30C0E-B219-434F-8B2D-6A53522E0926}" srcOrd="0" destOrd="0" presId="urn:microsoft.com/office/officeart/2005/8/layout/orgChart1"/>
    <dgm:cxn modelId="{F5B9A1F9-0FBE-4796-A5A7-7DF42F9E74A1}" type="presOf" srcId="{0C6B81F3-7AA4-4DD2-86C9-2A878EDB2253}" destId="{B82C42FD-137E-4C85-8887-5016C171BD5F}" srcOrd="0" destOrd="0" presId="urn:microsoft.com/office/officeart/2005/8/layout/orgChart1"/>
    <dgm:cxn modelId="{7066082D-1FED-4E37-A71C-13E5D7F4AB3E}" srcId="{4D79FBC7-936A-43C9-B177-40F98CC2565A}" destId="{1BABFCD2-4BF4-42F1-8658-A184EFF5E79A}" srcOrd="0" destOrd="0" parTransId="{7032B7E9-49A9-49C6-B49F-761F3BCC437D}" sibTransId="{BF4C7AB9-74E6-4409-AB33-DA8D7B0B4B8F}"/>
    <dgm:cxn modelId="{CC973D78-60FD-4876-8F0E-C6BA0123F64D}" srcId="{1BABFCD2-4BF4-42F1-8658-A184EFF5E79A}" destId="{86547838-69F7-4923-BB03-43535479BC35}" srcOrd="0" destOrd="0" parTransId="{5AADAF87-EA03-4601-94A2-F82BD37A675F}" sibTransId="{35DF40C9-5443-47F5-B32E-F95AF8CAB3A7}"/>
    <dgm:cxn modelId="{A56EE8C7-15F5-49BD-835E-71097C4AC389}" type="presOf" srcId="{86547838-69F7-4923-BB03-43535479BC35}" destId="{A7AB3A6A-65FA-4155-A543-E03399355354}" srcOrd="1" destOrd="0" presId="urn:microsoft.com/office/officeart/2005/8/layout/orgChart1"/>
    <dgm:cxn modelId="{B5BAA77C-7F6C-4CEF-9FF2-06FA77CFC5D1}" type="presOf" srcId="{1BABFCD2-4BF4-42F1-8658-A184EFF5E79A}" destId="{DDB33D7E-BBAC-48ED-A4B1-D2BAF2EC6E53}" srcOrd="1" destOrd="0" presId="urn:microsoft.com/office/officeart/2005/8/layout/orgChart1"/>
    <dgm:cxn modelId="{D061A025-06DC-4584-8C2A-1FE837C29062}" type="presOf" srcId="{A8493756-CDF1-4FC5-81D6-26852E483095}" destId="{3DBE92E2-B688-4EC6-AE3B-E321DFD957DE}" srcOrd="1" destOrd="0" presId="urn:microsoft.com/office/officeart/2005/8/layout/orgChart1"/>
    <dgm:cxn modelId="{3685AE36-A495-4B53-A3D4-92C4FA1B0D28}" type="presOf" srcId="{A8493756-CDF1-4FC5-81D6-26852E483095}" destId="{26B4F400-6934-4782-B4D9-7263BABFA7BC}" srcOrd="0" destOrd="0" presId="urn:microsoft.com/office/officeart/2005/8/layout/orgChart1"/>
    <dgm:cxn modelId="{576AA538-0910-4DFB-BAF2-F3992EE94138}" srcId="{1BABFCD2-4BF4-42F1-8658-A184EFF5E79A}" destId="{A8493756-CDF1-4FC5-81D6-26852E483095}" srcOrd="1" destOrd="0" parTransId="{0C6B81F3-7AA4-4DD2-86C9-2A878EDB2253}" sibTransId="{32EFE70D-3B3C-463F-AC0C-7FB47904E771}"/>
    <dgm:cxn modelId="{94FEB502-298A-4D21-B56B-C9F00DEBF6FD}" type="presOf" srcId="{5AADAF87-EA03-4601-94A2-F82BD37A675F}" destId="{6507565F-6879-4B90-89AF-B43891F0B51A}" srcOrd="0" destOrd="0" presId="urn:microsoft.com/office/officeart/2005/8/layout/orgChart1"/>
    <dgm:cxn modelId="{41093548-34ED-43BB-ADA5-69813C844292}" type="presOf" srcId="{4D79FBC7-936A-43C9-B177-40F98CC2565A}" destId="{45699304-8F13-46AE-9E5D-5A6FDB893A6A}" srcOrd="0" destOrd="0" presId="urn:microsoft.com/office/officeart/2005/8/layout/orgChart1"/>
    <dgm:cxn modelId="{FBC15603-7529-479E-9466-157E742729B5}" type="presParOf" srcId="{45699304-8F13-46AE-9E5D-5A6FDB893A6A}" destId="{127501D4-3D6F-4ECE-96DE-E42AEA65800C}" srcOrd="0" destOrd="0" presId="urn:microsoft.com/office/officeart/2005/8/layout/orgChart1"/>
    <dgm:cxn modelId="{3925F50C-3E65-4D9D-A058-1713724C28F6}" type="presParOf" srcId="{127501D4-3D6F-4ECE-96DE-E42AEA65800C}" destId="{CB543B76-80E1-4FF8-BCC1-15F2AF25B6BB}" srcOrd="0" destOrd="0" presId="urn:microsoft.com/office/officeart/2005/8/layout/orgChart1"/>
    <dgm:cxn modelId="{8E72F8F9-07C6-44E1-B0AB-5D93926ED141}" type="presParOf" srcId="{CB543B76-80E1-4FF8-BCC1-15F2AF25B6BB}" destId="{D8157A57-F390-4CF1-A53B-9A2E465585C5}" srcOrd="0" destOrd="0" presId="urn:microsoft.com/office/officeart/2005/8/layout/orgChart1"/>
    <dgm:cxn modelId="{4CBA9A55-CEF5-4F98-A051-FD8372C9D40A}" type="presParOf" srcId="{CB543B76-80E1-4FF8-BCC1-15F2AF25B6BB}" destId="{DDB33D7E-BBAC-48ED-A4B1-D2BAF2EC6E53}" srcOrd="1" destOrd="0" presId="urn:microsoft.com/office/officeart/2005/8/layout/orgChart1"/>
    <dgm:cxn modelId="{3524A268-EA60-4416-845F-F1D1507C7ED4}" type="presParOf" srcId="{127501D4-3D6F-4ECE-96DE-E42AEA65800C}" destId="{D36E41FB-1EAD-4E11-980D-724EB89793E8}" srcOrd="1" destOrd="0" presId="urn:microsoft.com/office/officeart/2005/8/layout/orgChart1"/>
    <dgm:cxn modelId="{192199A4-50D1-40BE-9957-1F40A0EBD27B}" type="presParOf" srcId="{D36E41FB-1EAD-4E11-980D-724EB89793E8}" destId="{6507565F-6879-4B90-89AF-B43891F0B51A}" srcOrd="0" destOrd="0" presId="urn:microsoft.com/office/officeart/2005/8/layout/orgChart1"/>
    <dgm:cxn modelId="{0B1855BC-6F47-478A-9539-6B0ADFF2A629}" type="presParOf" srcId="{D36E41FB-1EAD-4E11-980D-724EB89793E8}" destId="{E36E226A-06EA-44AE-8177-3B50DB95B817}" srcOrd="1" destOrd="0" presId="urn:microsoft.com/office/officeart/2005/8/layout/orgChart1"/>
    <dgm:cxn modelId="{CC75B626-A0FB-4A7A-BCF4-CB577ADB58A4}" type="presParOf" srcId="{E36E226A-06EA-44AE-8177-3B50DB95B817}" destId="{11CBC000-3ACB-43C7-B9FA-A4BF6542413F}" srcOrd="0" destOrd="0" presId="urn:microsoft.com/office/officeart/2005/8/layout/orgChart1"/>
    <dgm:cxn modelId="{F69B0C56-DC64-4640-BC25-2243EB4756A0}" type="presParOf" srcId="{11CBC000-3ACB-43C7-B9FA-A4BF6542413F}" destId="{35E30C0E-B219-434F-8B2D-6A53522E0926}" srcOrd="0" destOrd="0" presId="urn:microsoft.com/office/officeart/2005/8/layout/orgChart1"/>
    <dgm:cxn modelId="{59414D22-7B9F-4B7B-B4F2-0774E8A27796}" type="presParOf" srcId="{11CBC000-3ACB-43C7-B9FA-A4BF6542413F}" destId="{A7AB3A6A-65FA-4155-A543-E03399355354}" srcOrd="1" destOrd="0" presId="urn:microsoft.com/office/officeart/2005/8/layout/orgChart1"/>
    <dgm:cxn modelId="{AD1B771E-7F24-4329-9CF0-DE429EF4EDB8}" type="presParOf" srcId="{E36E226A-06EA-44AE-8177-3B50DB95B817}" destId="{D67411FC-FD60-496D-A7D3-E07223F16ABA}" srcOrd="1" destOrd="0" presId="urn:microsoft.com/office/officeart/2005/8/layout/orgChart1"/>
    <dgm:cxn modelId="{2F96D46F-DA47-4B94-9298-2EDCFB057B4B}" type="presParOf" srcId="{E36E226A-06EA-44AE-8177-3B50DB95B817}" destId="{703C8858-551D-47DB-A85B-5F9DF28A7276}" srcOrd="2" destOrd="0" presId="urn:microsoft.com/office/officeart/2005/8/layout/orgChart1"/>
    <dgm:cxn modelId="{264A346F-BBEC-4B86-BE99-87E10F3B7AF9}" type="presParOf" srcId="{D36E41FB-1EAD-4E11-980D-724EB89793E8}" destId="{B82C42FD-137E-4C85-8887-5016C171BD5F}" srcOrd="2" destOrd="0" presId="urn:microsoft.com/office/officeart/2005/8/layout/orgChart1"/>
    <dgm:cxn modelId="{61A2E4D7-B9A2-42C7-8A4B-59DF0E945BBD}" type="presParOf" srcId="{D36E41FB-1EAD-4E11-980D-724EB89793E8}" destId="{600BA243-BB45-4B7A-A739-A787848D9300}" srcOrd="3" destOrd="0" presId="urn:microsoft.com/office/officeart/2005/8/layout/orgChart1"/>
    <dgm:cxn modelId="{ED74B2BE-3299-4F23-AD60-EC8912A744B5}" type="presParOf" srcId="{600BA243-BB45-4B7A-A739-A787848D9300}" destId="{FA84C35F-2A97-40A9-BA5E-E025BC05CFAD}" srcOrd="0" destOrd="0" presId="urn:microsoft.com/office/officeart/2005/8/layout/orgChart1"/>
    <dgm:cxn modelId="{54D633EA-3DB5-40D0-84D8-AD28F3E377E7}" type="presParOf" srcId="{FA84C35F-2A97-40A9-BA5E-E025BC05CFAD}" destId="{26B4F400-6934-4782-B4D9-7263BABFA7BC}" srcOrd="0" destOrd="0" presId="urn:microsoft.com/office/officeart/2005/8/layout/orgChart1"/>
    <dgm:cxn modelId="{E9858971-0B73-4A87-913E-8E55920D8439}" type="presParOf" srcId="{FA84C35F-2A97-40A9-BA5E-E025BC05CFAD}" destId="{3DBE92E2-B688-4EC6-AE3B-E321DFD957DE}" srcOrd="1" destOrd="0" presId="urn:microsoft.com/office/officeart/2005/8/layout/orgChart1"/>
    <dgm:cxn modelId="{A01C8CA5-C84F-479B-B03B-BE2342853A34}" type="presParOf" srcId="{600BA243-BB45-4B7A-A739-A787848D9300}" destId="{041A15A3-B7C7-4AC9-AED4-6EDA9C73D569}" srcOrd="1" destOrd="0" presId="urn:microsoft.com/office/officeart/2005/8/layout/orgChart1"/>
    <dgm:cxn modelId="{26F73D69-203D-4F93-BA3B-74BD7CD4A19D}" type="presParOf" srcId="{600BA243-BB45-4B7A-A739-A787848D9300}" destId="{98A5A9F2-5F29-4D32-A2DA-E92C3F1255EF}" srcOrd="2" destOrd="0" presId="urn:microsoft.com/office/officeart/2005/8/layout/orgChart1"/>
    <dgm:cxn modelId="{338C9629-7A5E-442A-87CA-32AC090263FB}" type="presParOf" srcId="{127501D4-3D6F-4ECE-96DE-E42AEA65800C}" destId="{FB4783DC-8C8B-4262-8410-F5FE52B4B032}" srcOrd="2" destOrd="0" presId="urn:microsoft.com/office/officeart/2005/8/layout/orgChar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79FBC7-936A-43C9-B177-40F98CC2565A}" type="doc">
      <dgm:prSet loTypeId="urn:microsoft.com/office/officeart/2005/8/layout/orgChart1" loCatId="hierarchy" qsTypeId="urn:microsoft.com/office/officeart/2005/8/quickstyle/simple1" qsCatId="simple" csTypeId="urn:microsoft.com/office/officeart/2005/8/colors/accent2_2" csCatId="accent2" phldr="1"/>
      <dgm:spPr/>
      <dgm:t>
        <a:bodyPr/>
        <a:lstStyle/>
        <a:p>
          <a:endParaRPr lang="en-US"/>
        </a:p>
      </dgm:t>
    </dgm:pt>
    <dgm:pt modelId="{2DA53642-2A66-4187-8A40-BBD439CA8A9A}">
      <dgm:prSet phldrT="[Text]" custT="1"/>
      <dgm:spPr/>
      <dgm:t>
        <a:bodyPr/>
        <a:lstStyle/>
        <a:p>
          <a:r>
            <a:rPr lang="en-US" sz="1800" b="1" dirty="0" smtClean="0"/>
            <a:t>OU (Steven Smith)</a:t>
          </a:r>
          <a:endParaRPr lang="en-US" sz="1800" b="1" dirty="0"/>
        </a:p>
      </dgm:t>
    </dgm:pt>
    <dgm:pt modelId="{12926142-2184-4D86-90FC-45B0FA0BF0D1}" type="parTrans" cxnId="{45DF2621-C09E-4C68-9016-2DC88B11A09C}">
      <dgm:prSet/>
      <dgm:spPr/>
      <dgm:t>
        <a:bodyPr/>
        <a:lstStyle/>
        <a:p>
          <a:endParaRPr lang="en-US" sz="1800" b="1"/>
        </a:p>
      </dgm:t>
    </dgm:pt>
    <dgm:pt modelId="{B531F88B-74D6-433F-B0A6-CA9AD7659277}" type="sibTrans" cxnId="{45DF2621-C09E-4C68-9016-2DC88B11A09C}">
      <dgm:prSet/>
      <dgm:spPr/>
      <dgm:t>
        <a:bodyPr/>
        <a:lstStyle/>
        <a:p>
          <a:endParaRPr lang="en-US" sz="1800" b="1"/>
        </a:p>
      </dgm:t>
    </dgm:pt>
    <dgm:pt modelId="{1BF654EF-9503-42F8-8497-6526CBBE27CB}">
      <dgm:prSet phldrT="[Text]" custT="1"/>
      <dgm:spPr>
        <a:solidFill>
          <a:schemeClr val="bg2"/>
        </a:solidFill>
      </dgm:spPr>
      <dgm:t>
        <a:bodyPr/>
        <a:lstStyle/>
        <a:p>
          <a:r>
            <a:rPr lang="en-US" sz="1800" b="1" dirty="0" smtClean="0"/>
            <a:t>NGL Lab (Sarah Otley)</a:t>
          </a:r>
          <a:endParaRPr lang="en-US" sz="1800" b="1" dirty="0"/>
        </a:p>
      </dgm:t>
    </dgm:pt>
    <dgm:pt modelId="{AB045F32-1986-4548-8472-887FAC2A1A95}" type="parTrans" cxnId="{F656DF3B-5258-4CC0-BD3F-9385A46EF222}">
      <dgm:prSet/>
      <dgm:spPr/>
      <dgm:t>
        <a:bodyPr/>
        <a:lstStyle/>
        <a:p>
          <a:endParaRPr lang="en-US" sz="1800" b="1"/>
        </a:p>
      </dgm:t>
    </dgm:pt>
    <dgm:pt modelId="{D485B9E5-EB7A-4F2A-8FE5-5EB64B9B3F2A}" type="sibTrans" cxnId="{F656DF3B-5258-4CC0-BD3F-9385A46EF222}">
      <dgm:prSet/>
      <dgm:spPr/>
      <dgm:t>
        <a:bodyPr/>
        <a:lstStyle/>
        <a:p>
          <a:endParaRPr lang="en-US" sz="1800" b="1"/>
        </a:p>
      </dgm:t>
    </dgm:pt>
    <dgm:pt modelId="{D0F2C2D4-EB3A-4E69-B830-5FD720F746A2}">
      <dgm:prSet phldrT="[Text]" custT="1"/>
      <dgm:spPr/>
      <dgm:t>
        <a:bodyPr/>
        <a:lstStyle/>
        <a:p>
          <a:r>
            <a:rPr lang="en-US" sz="1800" b="1" dirty="0" smtClean="0"/>
            <a:t>B2L (Sarah Otley)</a:t>
          </a:r>
          <a:endParaRPr lang="en-US" sz="1800" b="1" dirty="0"/>
        </a:p>
      </dgm:t>
    </dgm:pt>
    <dgm:pt modelId="{35FD2D39-FFEB-454A-8337-17C9265191DD}" type="parTrans" cxnId="{FB5C5BCF-D108-4C01-9576-9BED6213EAD4}">
      <dgm:prSet/>
      <dgm:spPr/>
      <dgm:t>
        <a:bodyPr/>
        <a:lstStyle/>
        <a:p>
          <a:endParaRPr lang="en-US" sz="1800" b="1"/>
        </a:p>
      </dgm:t>
    </dgm:pt>
    <dgm:pt modelId="{2AAD61CD-9FB4-43D8-B7B9-976121CCBB9A}" type="sibTrans" cxnId="{FB5C5BCF-D108-4C01-9576-9BED6213EAD4}">
      <dgm:prSet/>
      <dgm:spPr/>
      <dgm:t>
        <a:bodyPr/>
        <a:lstStyle/>
        <a:p>
          <a:endParaRPr lang="en-US" sz="1800" b="1"/>
        </a:p>
      </dgm:t>
    </dgm:pt>
    <dgm:pt modelId="{DED10DF8-E93F-45E5-82AE-D73E85D50635}">
      <dgm:prSet phldrT="[Text]" custT="1"/>
      <dgm:spPr>
        <a:solidFill>
          <a:srgbClr val="92D050"/>
        </a:solidFill>
      </dgm:spPr>
      <dgm:t>
        <a:bodyPr/>
        <a:lstStyle/>
        <a:p>
          <a:r>
            <a:rPr lang="en-US" sz="1800" b="1" dirty="0" smtClean="0"/>
            <a:t>Curriculum (Regis Chasse)</a:t>
          </a:r>
        </a:p>
      </dgm:t>
    </dgm:pt>
    <dgm:pt modelId="{B7BB7F17-D214-4304-AB7C-DFBE1EF2985D}" type="parTrans" cxnId="{861CA231-C77F-4129-8B32-E5B7D7BCFDB7}">
      <dgm:prSet/>
      <dgm:spPr/>
      <dgm:t>
        <a:bodyPr/>
        <a:lstStyle/>
        <a:p>
          <a:endParaRPr lang="en-US" sz="1800" b="1"/>
        </a:p>
      </dgm:t>
    </dgm:pt>
    <dgm:pt modelId="{09EC4FB8-B49F-4340-A81E-5FFA3544D5CA}" type="sibTrans" cxnId="{861CA231-C77F-4129-8B32-E5B7D7BCFDB7}">
      <dgm:prSet/>
      <dgm:spPr/>
      <dgm:t>
        <a:bodyPr/>
        <a:lstStyle/>
        <a:p>
          <a:endParaRPr lang="en-US" sz="1800" b="1"/>
        </a:p>
      </dgm:t>
    </dgm:pt>
    <dgm:pt modelId="{13DBCD1B-0A8F-421E-A9E1-58751A5C1DB6}">
      <dgm:prSet custT="1"/>
      <dgm:spPr/>
      <dgm:t>
        <a:bodyPr/>
        <a:lstStyle/>
        <a:p>
          <a:r>
            <a:rPr lang="en-US" sz="1800" b="1" dirty="0" smtClean="0"/>
            <a:t>Support</a:t>
          </a:r>
          <a:endParaRPr lang="en-US" sz="1800" b="1" dirty="0"/>
        </a:p>
      </dgm:t>
    </dgm:pt>
    <dgm:pt modelId="{0A72DBAF-E577-447E-A762-BDFB1F389AE9}" type="parTrans" cxnId="{410E9A45-F73B-41FD-BB56-D3ACC11054EB}">
      <dgm:prSet/>
      <dgm:spPr/>
      <dgm:t>
        <a:bodyPr/>
        <a:lstStyle/>
        <a:p>
          <a:endParaRPr lang="en-US" sz="1800" b="1"/>
        </a:p>
      </dgm:t>
    </dgm:pt>
    <dgm:pt modelId="{22C49337-BCCB-4890-AB0D-6F06D9948505}" type="sibTrans" cxnId="{410E9A45-F73B-41FD-BB56-D3ACC11054EB}">
      <dgm:prSet/>
      <dgm:spPr/>
      <dgm:t>
        <a:bodyPr/>
        <a:lstStyle/>
        <a:p>
          <a:endParaRPr lang="en-US" sz="1800" b="1"/>
        </a:p>
      </dgm:t>
    </dgm:pt>
    <dgm:pt modelId="{989D513A-ED7E-4ED6-9EFD-186757700DA1}">
      <dgm:prSet custT="1"/>
      <dgm:spPr/>
      <dgm:t>
        <a:bodyPr/>
        <a:lstStyle/>
        <a:p>
          <a:r>
            <a:rPr lang="en-US" sz="1800" b="1" dirty="0" smtClean="0"/>
            <a:t>Operations (Uma Sankar)</a:t>
          </a:r>
          <a:endParaRPr lang="en-US" sz="1800" b="1" dirty="0"/>
        </a:p>
      </dgm:t>
    </dgm:pt>
    <dgm:pt modelId="{EC3C005E-AEA7-4EB5-93C8-465306035A47}" type="parTrans" cxnId="{321BABDF-C753-4B5B-8774-9D1412A402AE}">
      <dgm:prSet/>
      <dgm:spPr/>
      <dgm:t>
        <a:bodyPr/>
        <a:lstStyle/>
        <a:p>
          <a:endParaRPr lang="en-US" sz="1800" b="1"/>
        </a:p>
      </dgm:t>
    </dgm:pt>
    <dgm:pt modelId="{A3DBF3C3-DCCC-4C9D-961C-8BA635C6AE69}" type="sibTrans" cxnId="{321BABDF-C753-4B5B-8774-9D1412A402AE}">
      <dgm:prSet/>
      <dgm:spPr/>
      <dgm:t>
        <a:bodyPr/>
        <a:lstStyle/>
        <a:p>
          <a:endParaRPr lang="en-US" sz="1800" b="1"/>
        </a:p>
      </dgm:t>
    </dgm:pt>
    <dgm:pt modelId="{DAF793C4-DFB0-4F06-BD79-5C7B4A58F930}">
      <dgm:prSet custT="1"/>
      <dgm:spPr>
        <a:solidFill>
          <a:schemeClr val="bg2"/>
        </a:solidFill>
      </dgm:spPr>
      <dgm:t>
        <a:bodyPr/>
        <a:lstStyle/>
        <a:p>
          <a:r>
            <a:rPr lang="en-US" sz="1700" b="1" dirty="0" smtClean="0"/>
            <a:t>Design &amp; Innovation</a:t>
          </a:r>
          <a:endParaRPr lang="en-US" sz="1700" b="1" dirty="0"/>
        </a:p>
      </dgm:t>
    </dgm:pt>
    <dgm:pt modelId="{E2D62F41-73C4-472C-A1C4-76CE8A75909D}" type="parTrans" cxnId="{CC014C98-C823-4B5B-81DD-7079D3095AFE}">
      <dgm:prSet/>
      <dgm:spPr/>
      <dgm:t>
        <a:bodyPr/>
        <a:lstStyle/>
        <a:p>
          <a:endParaRPr lang="en-US"/>
        </a:p>
      </dgm:t>
    </dgm:pt>
    <dgm:pt modelId="{EC00CAE1-1BFD-443C-BF96-7944E2BAD4F4}" type="sibTrans" cxnId="{CC014C98-C823-4B5B-81DD-7079D3095AFE}">
      <dgm:prSet/>
      <dgm:spPr/>
      <dgm:t>
        <a:bodyPr/>
        <a:lstStyle/>
        <a:p>
          <a:endParaRPr lang="en-US"/>
        </a:p>
      </dgm:t>
    </dgm:pt>
    <dgm:pt modelId="{0B4CD3FB-3FEF-4616-BF65-C35D43A3B29F}">
      <dgm:prSet custT="1"/>
      <dgm:spPr/>
      <dgm:t>
        <a:bodyPr/>
        <a:lstStyle/>
        <a:p>
          <a:r>
            <a:rPr lang="en-US" sz="1700" dirty="0" smtClean="0"/>
            <a:t>Project Managers</a:t>
          </a:r>
          <a:endParaRPr lang="en-US" sz="1700" dirty="0"/>
        </a:p>
      </dgm:t>
    </dgm:pt>
    <dgm:pt modelId="{5C791730-02DC-401E-8299-82480B229BE9}" type="parTrans" cxnId="{242BCD79-F298-421D-A1D5-B885A2969B64}">
      <dgm:prSet/>
      <dgm:spPr/>
      <dgm:t>
        <a:bodyPr/>
        <a:lstStyle/>
        <a:p>
          <a:endParaRPr lang="en-US"/>
        </a:p>
      </dgm:t>
    </dgm:pt>
    <dgm:pt modelId="{97D5296D-28DE-408E-8736-54C84D7E9DE8}" type="sibTrans" cxnId="{242BCD79-F298-421D-A1D5-B885A2969B64}">
      <dgm:prSet/>
      <dgm:spPr/>
      <dgm:t>
        <a:bodyPr/>
        <a:lstStyle/>
        <a:p>
          <a:endParaRPr lang="en-US"/>
        </a:p>
      </dgm:t>
    </dgm:pt>
    <dgm:pt modelId="{2F9C0F17-49DD-42C5-BDB1-8A9FBDB4A6E2}">
      <dgm:prSet custT="1"/>
      <dgm:spPr/>
      <dgm:t>
        <a:bodyPr/>
        <a:lstStyle/>
        <a:p>
          <a:r>
            <a:rPr lang="en-US" sz="1800" dirty="0" smtClean="0"/>
            <a:t>Faculty</a:t>
          </a:r>
          <a:endParaRPr lang="en-US" sz="1800" dirty="0"/>
        </a:p>
      </dgm:t>
    </dgm:pt>
    <dgm:pt modelId="{FCE0624E-F889-4444-96F4-BC75D5552EE4}" type="parTrans" cxnId="{5461A038-6BE6-4207-AAB4-21E2E6712048}">
      <dgm:prSet/>
      <dgm:spPr/>
      <dgm:t>
        <a:bodyPr/>
        <a:lstStyle/>
        <a:p>
          <a:endParaRPr lang="en-US"/>
        </a:p>
      </dgm:t>
    </dgm:pt>
    <dgm:pt modelId="{D2F3B50D-BE3C-49F4-8E6D-4B84158E27D8}" type="sibTrans" cxnId="{5461A038-6BE6-4207-AAB4-21E2E6712048}">
      <dgm:prSet/>
      <dgm:spPr/>
      <dgm:t>
        <a:bodyPr/>
        <a:lstStyle/>
        <a:p>
          <a:endParaRPr lang="en-US"/>
        </a:p>
      </dgm:t>
    </dgm:pt>
    <dgm:pt modelId="{68D4237F-E751-438C-812E-B9D1E606C565}">
      <dgm:prSet custT="1"/>
      <dgm:spPr>
        <a:solidFill>
          <a:srgbClr val="92D050"/>
        </a:solidFill>
      </dgm:spPr>
      <dgm:t>
        <a:bodyPr/>
        <a:lstStyle/>
        <a:p>
          <a:r>
            <a:rPr lang="en-US" sz="2200" dirty="0" smtClean="0"/>
            <a:t>Instructional Designers</a:t>
          </a:r>
          <a:endParaRPr lang="en-US" sz="2200" dirty="0"/>
        </a:p>
      </dgm:t>
    </dgm:pt>
    <dgm:pt modelId="{03ABDBDB-58DA-4F57-A56C-D4339ECCBA9D}" type="parTrans" cxnId="{949529B4-E120-4E5A-AD8B-FC6A4218929D}">
      <dgm:prSet/>
      <dgm:spPr/>
      <dgm:t>
        <a:bodyPr/>
        <a:lstStyle/>
        <a:p>
          <a:endParaRPr lang="en-US"/>
        </a:p>
      </dgm:t>
    </dgm:pt>
    <dgm:pt modelId="{33B71AED-1528-49B7-BCF1-7FFCA7A22A0C}" type="sibTrans" cxnId="{949529B4-E120-4E5A-AD8B-FC6A4218929D}">
      <dgm:prSet/>
      <dgm:spPr/>
      <dgm:t>
        <a:bodyPr/>
        <a:lstStyle/>
        <a:p>
          <a:endParaRPr lang="en-US"/>
        </a:p>
      </dgm:t>
    </dgm:pt>
    <dgm:pt modelId="{15314709-1EE8-4CF6-8546-18906945F332}">
      <dgm:prSet custT="1"/>
      <dgm:spPr/>
      <dgm:t>
        <a:bodyPr/>
        <a:lstStyle/>
        <a:p>
          <a:r>
            <a:rPr lang="en-US" sz="2200" dirty="0" smtClean="0"/>
            <a:t>Rich Media Designers</a:t>
          </a:r>
        </a:p>
      </dgm:t>
    </dgm:pt>
    <dgm:pt modelId="{75EBD301-BE02-4679-AEA7-871ADA404FC3}" type="parTrans" cxnId="{A611FDCE-5158-4048-B419-1DC595A0EC45}">
      <dgm:prSet/>
      <dgm:spPr/>
      <dgm:t>
        <a:bodyPr/>
        <a:lstStyle/>
        <a:p>
          <a:endParaRPr lang="en-US"/>
        </a:p>
      </dgm:t>
    </dgm:pt>
    <dgm:pt modelId="{249FCEFE-BE7D-4A52-8272-6CBDA27229C4}" type="sibTrans" cxnId="{A611FDCE-5158-4048-B419-1DC595A0EC45}">
      <dgm:prSet/>
      <dgm:spPr/>
      <dgm:t>
        <a:bodyPr/>
        <a:lstStyle/>
        <a:p>
          <a:endParaRPr lang="en-US"/>
        </a:p>
      </dgm:t>
    </dgm:pt>
    <dgm:pt modelId="{7042D234-C81A-489C-B704-ED31E3F5A7C0}">
      <dgm:prSet custT="1"/>
      <dgm:spPr/>
      <dgm:t>
        <a:bodyPr/>
        <a:lstStyle/>
        <a:p>
          <a:r>
            <a:rPr lang="en-US" sz="2200" dirty="0" smtClean="0"/>
            <a:t>Content integrators</a:t>
          </a:r>
          <a:endParaRPr lang="en-US" sz="2200" dirty="0"/>
        </a:p>
      </dgm:t>
    </dgm:pt>
    <dgm:pt modelId="{0D993A5C-0562-4BC9-88B2-3DEECB85CF80}" type="parTrans" cxnId="{6C169639-089F-4A02-812E-D63668BF5163}">
      <dgm:prSet/>
      <dgm:spPr/>
      <dgm:t>
        <a:bodyPr/>
        <a:lstStyle/>
        <a:p>
          <a:endParaRPr lang="en-US"/>
        </a:p>
      </dgm:t>
    </dgm:pt>
    <dgm:pt modelId="{9AABECB9-DFB2-4FA3-B321-E5904F9963D3}" type="sibTrans" cxnId="{6C169639-089F-4A02-812E-D63668BF5163}">
      <dgm:prSet/>
      <dgm:spPr/>
      <dgm:t>
        <a:bodyPr/>
        <a:lstStyle/>
        <a:p>
          <a:endParaRPr lang="en-US"/>
        </a:p>
      </dgm:t>
    </dgm:pt>
    <dgm:pt modelId="{45699304-8F13-46AE-9E5D-5A6FDB893A6A}" type="pres">
      <dgm:prSet presAssocID="{4D79FBC7-936A-43C9-B177-40F98CC2565A}" presName="hierChild1" presStyleCnt="0">
        <dgm:presLayoutVars>
          <dgm:orgChart val="1"/>
          <dgm:chPref val="1"/>
          <dgm:dir/>
          <dgm:animOne val="branch"/>
          <dgm:animLvl val="lvl"/>
          <dgm:resizeHandles/>
        </dgm:presLayoutVars>
      </dgm:prSet>
      <dgm:spPr/>
    </dgm:pt>
    <dgm:pt modelId="{4197ED4A-0D93-4095-A18F-DDE92899BB93}" type="pres">
      <dgm:prSet presAssocID="{2DA53642-2A66-4187-8A40-BBD439CA8A9A}" presName="hierRoot1" presStyleCnt="0">
        <dgm:presLayoutVars>
          <dgm:hierBranch val="init"/>
        </dgm:presLayoutVars>
      </dgm:prSet>
      <dgm:spPr/>
    </dgm:pt>
    <dgm:pt modelId="{21B487FD-6CDA-468F-B06D-09D856775990}" type="pres">
      <dgm:prSet presAssocID="{2DA53642-2A66-4187-8A40-BBD439CA8A9A}" presName="rootComposite1" presStyleCnt="0"/>
      <dgm:spPr/>
    </dgm:pt>
    <dgm:pt modelId="{3A7687FB-E5CF-464B-8EFE-D19BA45B711D}" type="pres">
      <dgm:prSet presAssocID="{2DA53642-2A66-4187-8A40-BBD439CA8A9A}" presName="rootText1" presStyleLbl="node0" presStyleIdx="0" presStyleCnt="1" custScaleX="228774">
        <dgm:presLayoutVars>
          <dgm:chPref val="3"/>
        </dgm:presLayoutVars>
      </dgm:prSet>
      <dgm:spPr/>
    </dgm:pt>
    <dgm:pt modelId="{3B3B669F-B4BB-4C7D-909A-51945B2471B2}" type="pres">
      <dgm:prSet presAssocID="{2DA53642-2A66-4187-8A40-BBD439CA8A9A}" presName="rootConnector1" presStyleLbl="node1" presStyleIdx="0" presStyleCnt="0"/>
      <dgm:spPr/>
    </dgm:pt>
    <dgm:pt modelId="{CFE12947-9988-4D10-8F5F-39CFAB342CB4}" type="pres">
      <dgm:prSet presAssocID="{2DA53642-2A66-4187-8A40-BBD439CA8A9A}" presName="hierChild2" presStyleCnt="0"/>
      <dgm:spPr/>
    </dgm:pt>
    <dgm:pt modelId="{4B12810E-F2A2-4F8A-9C7E-864759F33936}" type="pres">
      <dgm:prSet presAssocID="{AB045F32-1986-4548-8472-887FAC2A1A95}" presName="Name37" presStyleLbl="parChTrans1D2" presStyleIdx="0" presStyleCnt="5"/>
      <dgm:spPr/>
    </dgm:pt>
    <dgm:pt modelId="{0D558A3A-DAF5-4B1A-9423-B96F9DB9868F}" type="pres">
      <dgm:prSet presAssocID="{1BF654EF-9503-42F8-8497-6526CBBE27CB}" presName="hierRoot2" presStyleCnt="0">
        <dgm:presLayoutVars>
          <dgm:hierBranch val="init"/>
        </dgm:presLayoutVars>
      </dgm:prSet>
      <dgm:spPr/>
    </dgm:pt>
    <dgm:pt modelId="{A81F16E4-45FE-4D83-AD8C-112EABBFA1B0}" type="pres">
      <dgm:prSet presAssocID="{1BF654EF-9503-42F8-8497-6526CBBE27CB}" presName="rootComposite" presStyleCnt="0"/>
      <dgm:spPr/>
    </dgm:pt>
    <dgm:pt modelId="{6083EB23-586D-4B21-9D78-908F1FD2C7E5}" type="pres">
      <dgm:prSet presAssocID="{1BF654EF-9503-42F8-8497-6526CBBE27CB}" presName="rootText" presStyleLbl="node2" presStyleIdx="0" presStyleCnt="5" custScaleX="242625" custScaleY="153095">
        <dgm:presLayoutVars>
          <dgm:chPref val="3"/>
        </dgm:presLayoutVars>
      </dgm:prSet>
      <dgm:spPr/>
      <dgm:t>
        <a:bodyPr/>
        <a:lstStyle/>
        <a:p>
          <a:endParaRPr lang="en-US"/>
        </a:p>
      </dgm:t>
    </dgm:pt>
    <dgm:pt modelId="{B6D51242-B0FF-446A-8274-B8620F36C9A0}" type="pres">
      <dgm:prSet presAssocID="{1BF654EF-9503-42F8-8497-6526CBBE27CB}" presName="rootConnector" presStyleLbl="node2" presStyleIdx="0" presStyleCnt="5"/>
      <dgm:spPr/>
    </dgm:pt>
    <dgm:pt modelId="{0B32AA75-2DC4-4E95-B32E-5E42AD7FC3EB}" type="pres">
      <dgm:prSet presAssocID="{1BF654EF-9503-42F8-8497-6526CBBE27CB}" presName="hierChild4" presStyleCnt="0"/>
      <dgm:spPr/>
    </dgm:pt>
    <dgm:pt modelId="{4AA411C6-CA82-4C6D-954C-2F2D52B940B9}" type="pres">
      <dgm:prSet presAssocID="{E2D62F41-73C4-472C-A1C4-76CE8A75909D}" presName="Name37" presStyleLbl="parChTrans1D3" presStyleIdx="0" presStyleCnt="3"/>
      <dgm:spPr/>
    </dgm:pt>
    <dgm:pt modelId="{FCEB0567-97E5-492B-8D7C-0B3822AF2D2C}" type="pres">
      <dgm:prSet presAssocID="{DAF793C4-DFB0-4F06-BD79-5C7B4A58F930}" presName="hierRoot2" presStyleCnt="0">
        <dgm:presLayoutVars>
          <dgm:hierBranch val="init"/>
        </dgm:presLayoutVars>
      </dgm:prSet>
      <dgm:spPr/>
    </dgm:pt>
    <dgm:pt modelId="{161CCB44-0C7F-4783-9964-2964E7B4E2ED}" type="pres">
      <dgm:prSet presAssocID="{DAF793C4-DFB0-4F06-BD79-5C7B4A58F930}" presName="rootComposite" presStyleCnt="0"/>
      <dgm:spPr/>
    </dgm:pt>
    <dgm:pt modelId="{9E1A0757-55D8-4683-8B48-8011E62C633F}" type="pres">
      <dgm:prSet presAssocID="{DAF793C4-DFB0-4F06-BD79-5C7B4A58F930}" presName="rootText" presStyleLbl="node3" presStyleIdx="0" presStyleCnt="3" custScaleX="171463" custScaleY="169559">
        <dgm:presLayoutVars>
          <dgm:chPref val="3"/>
        </dgm:presLayoutVars>
      </dgm:prSet>
      <dgm:spPr/>
      <dgm:t>
        <a:bodyPr/>
        <a:lstStyle/>
        <a:p>
          <a:endParaRPr lang="en-US"/>
        </a:p>
      </dgm:t>
    </dgm:pt>
    <dgm:pt modelId="{5729912D-D831-422F-AF49-B87BCD9AE887}" type="pres">
      <dgm:prSet presAssocID="{DAF793C4-DFB0-4F06-BD79-5C7B4A58F930}" presName="rootConnector" presStyleLbl="node3" presStyleIdx="0" presStyleCnt="3"/>
      <dgm:spPr/>
    </dgm:pt>
    <dgm:pt modelId="{EC6EBB0E-E87D-4F8C-B826-34140034AA48}" type="pres">
      <dgm:prSet presAssocID="{DAF793C4-DFB0-4F06-BD79-5C7B4A58F930}" presName="hierChild4" presStyleCnt="0"/>
      <dgm:spPr/>
    </dgm:pt>
    <dgm:pt modelId="{76887A83-86B4-4194-A9B2-54C27AF90053}" type="pres">
      <dgm:prSet presAssocID="{03ABDBDB-58DA-4F57-A56C-D4339ECCBA9D}" presName="Name37" presStyleLbl="parChTrans1D4" presStyleIdx="0" presStyleCnt="3"/>
      <dgm:spPr/>
    </dgm:pt>
    <dgm:pt modelId="{F2F4B932-2DC4-4750-8ABA-998453A163A8}" type="pres">
      <dgm:prSet presAssocID="{68D4237F-E751-438C-812E-B9D1E606C565}" presName="hierRoot2" presStyleCnt="0">
        <dgm:presLayoutVars>
          <dgm:hierBranch val="init"/>
        </dgm:presLayoutVars>
      </dgm:prSet>
      <dgm:spPr/>
    </dgm:pt>
    <dgm:pt modelId="{82177056-ACB5-43C5-9F56-4BB817229DBE}" type="pres">
      <dgm:prSet presAssocID="{68D4237F-E751-438C-812E-B9D1E606C565}" presName="rootComposite" presStyleCnt="0"/>
      <dgm:spPr/>
    </dgm:pt>
    <dgm:pt modelId="{DAC8FC56-988B-4E94-9CAB-26D4D75D8E87}" type="pres">
      <dgm:prSet presAssocID="{68D4237F-E751-438C-812E-B9D1E606C565}" presName="rootText" presStyleLbl="node4" presStyleIdx="0" presStyleCnt="3" custScaleX="435807">
        <dgm:presLayoutVars>
          <dgm:chPref val="3"/>
        </dgm:presLayoutVars>
      </dgm:prSet>
      <dgm:spPr/>
      <dgm:t>
        <a:bodyPr/>
        <a:lstStyle/>
        <a:p>
          <a:endParaRPr lang="en-US"/>
        </a:p>
      </dgm:t>
    </dgm:pt>
    <dgm:pt modelId="{D4B22399-E699-41D4-964E-8420EB098C24}" type="pres">
      <dgm:prSet presAssocID="{68D4237F-E751-438C-812E-B9D1E606C565}" presName="rootConnector" presStyleLbl="node4" presStyleIdx="0" presStyleCnt="3"/>
      <dgm:spPr/>
    </dgm:pt>
    <dgm:pt modelId="{DA5EC634-79D0-49B0-B21E-8F0D87B52651}" type="pres">
      <dgm:prSet presAssocID="{68D4237F-E751-438C-812E-B9D1E606C565}" presName="hierChild4" presStyleCnt="0"/>
      <dgm:spPr/>
    </dgm:pt>
    <dgm:pt modelId="{212477B8-FB17-4D17-970E-E702A738E97A}" type="pres">
      <dgm:prSet presAssocID="{68D4237F-E751-438C-812E-B9D1E606C565}" presName="hierChild5" presStyleCnt="0"/>
      <dgm:spPr/>
    </dgm:pt>
    <dgm:pt modelId="{6E91BA28-D626-46C8-83BD-4A3F9AF6BFD5}" type="pres">
      <dgm:prSet presAssocID="{75EBD301-BE02-4679-AEA7-871ADA404FC3}" presName="Name37" presStyleLbl="parChTrans1D4" presStyleIdx="1" presStyleCnt="3"/>
      <dgm:spPr/>
    </dgm:pt>
    <dgm:pt modelId="{AAAACE1E-F52F-4920-B344-1308AE84E1C6}" type="pres">
      <dgm:prSet presAssocID="{15314709-1EE8-4CF6-8546-18906945F332}" presName="hierRoot2" presStyleCnt="0">
        <dgm:presLayoutVars>
          <dgm:hierBranch val="init"/>
        </dgm:presLayoutVars>
      </dgm:prSet>
      <dgm:spPr/>
    </dgm:pt>
    <dgm:pt modelId="{D2A0AC30-F7B0-446C-AB2B-91AC0E94570F}" type="pres">
      <dgm:prSet presAssocID="{15314709-1EE8-4CF6-8546-18906945F332}" presName="rootComposite" presStyleCnt="0"/>
      <dgm:spPr/>
    </dgm:pt>
    <dgm:pt modelId="{2C9B5C99-CDD9-4C79-829C-37A88F1BF669}" type="pres">
      <dgm:prSet presAssocID="{15314709-1EE8-4CF6-8546-18906945F332}" presName="rootText" presStyleLbl="node4" presStyleIdx="1" presStyleCnt="3" custScaleX="429292">
        <dgm:presLayoutVars>
          <dgm:chPref val="3"/>
        </dgm:presLayoutVars>
      </dgm:prSet>
      <dgm:spPr/>
      <dgm:t>
        <a:bodyPr/>
        <a:lstStyle/>
        <a:p>
          <a:endParaRPr lang="en-US"/>
        </a:p>
      </dgm:t>
    </dgm:pt>
    <dgm:pt modelId="{9151FEE0-9986-4CD4-94E1-3AA3CB09E10C}" type="pres">
      <dgm:prSet presAssocID="{15314709-1EE8-4CF6-8546-18906945F332}" presName="rootConnector" presStyleLbl="node4" presStyleIdx="1" presStyleCnt="3"/>
      <dgm:spPr/>
    </dgm:pt>
    <dgm:pt modelId="{A012768F-8D26-4D68-86A3-449FE7598B2D}" type="pres">
      <dgm:prSet presAssocID="{15314709-1EE8-4CF6-8546-18906945F332}" presName="hierChild4" presStyleCnt="0"/>
      <dgm:spPr/>
    </dgm:pt>
    <dgm:pt modelId="{3CF6EDCA-7A0B-4471-8E8A-D68A4F568C0F}" type="pres">
      <dgm:prSet presAssocID="{15314709-1EE8-4CF6-8546-18906945F332}" presName="hierChild5" presStyleCnt="0"/>
      <dgm:spPr/>
    </dgm:pt>
    <dgm:pt modelId="{8170E07E-0930-4FB4-85DA-E1BD8E4DD1CE}" type="pres">
      <dgm:prSet presAssocID="{0D993A5C-0562-4BC9-88B2-3DEECB85CF80}" presName="Name37" presStyleLbl="parChTrans1D4" presStyleIdx="2" presStyleCnt="3"/>
      <dgm:spPr/>
    </dgm:pt>
    <dgm:pt modelId="{3E2A11BC-7396-42EB-833F-15B58B6C4C4A}" type="pres">
      <dgm:prSet presAssocID="{7042D234-C81A-489C-B704-ED31E3F5A7C0}" presName="hierRoot2" presStyleCnt="0">
        <dgm:presLayoutVars>
          <dgm:hierBranch val="init"/>
        </dgm:presLayoutVars>
      </dgm:prSet>
      <dgm:spPr/>
    </dgm:pt>
    <dgm:pt modelId="{02C9941D-6BE5-4CA7-A752-16BE3B2709B3}" type="pres">
      <dgm:prSet presAssocID="{7042D234-C81A-489C-B704-ED31E3F5A7C0}" presName="rootComposite" presStyleCnt="0"/>
      <dgm:spPr/>
    </dgm:pt>
    <dgm:pt modelId="{4062CCFE-CFE6-46C5-9167-B1BF9FF1B6F0}" type="pres">
      <dgm:prSet presAssocID="{7042D234-C81A-489C-B704-ED31E3F5A7C0}" presName="rootText" presStyleLbl="node4" presStyleIdx="2" presStyleCnt="3" custScaleX="427105">
        <dgm:presLayoutVars>
          <dgm:chPref val="3"/>
        </dgm:presLayoutVars>
      </dgm:prSet>
      <dgm:spPr/>
      <dgm:t>
        <a:bodyPr/>
        <a:lstStyle/>
        <a:p>
          <a:endParaRPr lang="en-US"/>
        </a:p>
      </dgm:t>
    </dgm:pt>
    <dgm:pt modelId="{B7A73D59-46EE-4B93-9C7A-92184412FC3A}" type="pres">
      <dgm:prSet presAssocID="{7042D234-C81A-489C-B704-ED31E3F5A7C0}" presName="rootConnector" presStyleLbl="node4" presStyleIdx="2" presStyleCnt="3"/>
      <dgm:spPr/>
    </dgm:pt>
    <dgm:pt modelId="{95E93999-E11E-4F30-8C86-911E47EE1D86}" type="pres">
      <dgm:prSet presAssocID="{7042D234-C81A-489C-B704-ED31E3F5A7C0}" presName="hierChild4" presStyleCnt="0"/>
      <dgm:spPr/>
    </dgm:pt>
    <dgm:pt modelId="{9F194E39-39CD-4847-9240-8F5114CF8025}" type="pres">
      <dgm:prSet presAssocID="{7042D234-C81A-489C-B704-ED31E3F5A7C0}" presName="hierChild5" presStyleCnt="0"/>
      <dgm:spPr/>
    </dgm:pt>
    <dgm:pt modelId="{B08964DA-3D20-402C-A6BE-36422D048B0A}" type="pres">
      <dgm:prSet presAssocID="{DAF793C4-DFB0-4F06-BD79-5C7B4A58F930}" presName="hierChild5" presStyleCnt="0"/>
      <dgm:spPr/>
    </dgm:pt>
    <dgm:pt modelId="{DC14592E-9CB7-403D-8B9C-9462C1FB5348}" type="pres">
      <dgm:prSet presAssocID="{5C791730-02DC-401E-8299-82480B229BE9}" presName="Name37" presStyleLbl="parChTrans1D3" presStyleIdx="1" presStyleCnt="3"/>
      <dgm:spPr/>
    </dgm:pt>
    <dgm:pt modelId="{94122BF6-0727-40FF-AE56-928EAFA1E2F4}" type="pres">
      <dgm:prSet presAssocID="{0B4CD3FB-3FEF-4616-BF65-C35D43A3B29F}" presName="hierRoot2" presStyleCnt="0">
        <dgm:presLayoutVars>
          <dgm:hierBranch val="init"/>
        </dgm:presLayoutVars>
      </dgm:prSet>
      <dgm:spPr/>
    </dgm:pt>
    <dgm:pt modelId="{4616E34B-0CB1-4B77-82FA-B45AAA595801}" type="pres">
      <dgm:prSet presAssocID="{0B4CD3FB-3FEF-4616-BF65-C35D43A3B29F}" presName="rootComposite" presStyleCnt="0"/>
      <dgm:spPr/>
    </dgm:pt>
    <dgm:pt modelId="{996FBA4F-31BA-43A4-A87F-DED5716232E6}" type="pres">
      <dgm:prSet presAssocID="{0B4CD3FB-3FEF-4616-BF65-C35D43A3B29F}" presName="rootText" presStyleLbl="node3" presStyleIdx="1" presStyleCnt="3" custScaleX="174234" custScaleY="177344">
        <dgm:presLayoutVars>
          <dgm:chPref val="3"/>
        </dgm:presLayoutVars>
      </dgm:prSet>
      <dgm:spPr/>
    </dgm:pt>
    <dgm:pt modelId="{8E0FCB49-08C3-417C-A8E6-3377F4A95740}" type="pres">
      <dgm:prSet presAssocID="{0B4CD3FB-3FEF-4616-BF65-C35D43A3B29F}" presName="rootConnector" presStyleLbl="node3" presStyleIdx="1" presStyleCnt="3"/>
      <dgm:spPr/>
    </dgm:pt>
    <dgm:pt modelId="{FCBC26E6-AB59-4F37-BB92-CA7C21161EE8}" type="pres">
      <dgm:prSet presAssocID="{0B4CD3FB-3FEF-4616-BF65-C35D43A3B29F}" presName="hierChild4" presStyleCnt="0"/>
      <dgm:spPr/>
    </dgm:pt>
    <dgm:pt modelId="{02043FA9-1502-40B0-BEED-5E265A4FC3E4}" type="pres">
      <dgm:prSet presAssocID="{0B4CD3FB-3FEF-4616-BF65-C35D43A3B29F}" presName="hierChild5" presStyleCnt="0"/>
      <dgm:spPr/>
    </dgm:pt>
    <dgm:pt modelId="{955A9EF3-8F7C-4042-BC3C-AA1E3316B79D}" type="pres">
      <dgm:prSet presAssocID="{FCE0624E-F889-4444-96F4-BC75D5552EE4}" presName="Name37" presStyleLbl="parChTrans1D3" presStyleIdx="2" presStyleCnt="3"/>
      <dgm:spPr/>
    </dgm:pt>
    <dgm:pt modelId="{54660E9C-6B0D-4282-B84E-0D38A4C113F6}" type="pres">
      <dgm:prSet presAssocID="{2F9C0F17-49DD-42C5-BDB1-8A9FBDB4A6E2}" presName="hierRoot2" presStyleCnt="0">
        <dgm:presLayoutVars>
          <dgm:hierBranch val="init"/>
        </dgm:presLayoutVars>
      </dgm:prSet>
      <dgm:spPr/>
    </dgm:pt>
    <dgm:pt modelId="{5A1DA9A3-0364-44C6-948C-7FB6C4B683E5}" type="pres">
      <dgm:prSet presAssocID="{2F9C0F17-49DD-42C5-BDB1-8A9FBDB4A6E2}" presName="rootComposite" presStyleCnt="0"/>
      <dgm:spPr/>
    </dgm:pt>
    <dgm:pt modelId="{8AD0E512-0F34-40F8-B109-F189D6B2F4D7}" type="pres">
      <dgm:prSet presAssocID="{2F9C0F17-49DD-42C5-BDB1-8A9FBDB4A6E2}" presName="rootText" presStyleLbl="node3" presStyleIdx="2" presStyleCnt="3" custScaleX="201494" custScaleY="156753">
        <dgm:presLayoutVars>
          <dgm:chPref val="3"/>
        </dgm:presLayoutVars>
      </dgm:prSet>
      <dgm:spPr/>
    </dgm:pt>
    <dgm:pt modelId="{48E203AB-2B70-4DFE-90B2-A1C83155A45F}" type="pres">
      <dgm:prSet presAssocID="{2F9C0F17-49DD-42C5-BDB1-8A9FBDB4A6E2}" presName="rootConnector" presStyleLbl="node3" presStyleIdx="2" presStyleCnt="3"/>
      <dgm:spPr/>
    </dgm:pt>
    <dgm:pt modelId="{EE00CD78-DA0D-4B1C-AF15-650647C792AE}" type="pres">
      <dgm:prSet presAssocID="{2F9C0F17-49DD-42C5-BDB1-8A9FBDB4A6E2}" presName="hierChild4" presStyleCnt="0"/>
      <dgm:spPr/>
    </dgm:pt>
    <dgm:pt modelId="{3A2CBCE7-019B-403B-AD3E-E0B5119F1D86}" type="pres">
      <dgm:prSet presAssocID="{2F9C0F17-49DD-42C5-BDB1-8A9FBDB4A6E2}" presName="hierChild5" presStyleCnt="0"/>
      <dgm:spPr/>
    </dgm:pt>
    <dgm:pt modelId="{D54EB879-FDBF-4E12-82E3-3907D13ABD31}" type="pres">
      <dgm:prSet presAssocID="{1BF654EF-9503-42F8-8497-6526CBBE27CB}" presName="hierChild5" presStyleCnt="0"/>
      <dgm:spPr/>
    </dgm:pt>
    <dgm:pt modelId="{7A34B900-74EF-462E-AC50-9BD363718F70}" type="pres">
      <dgm:prSet presAssocID="{35FD2D39-FFEB-454A-8337-17C9265191DD}" presName="Name37" presStyleLbl="parChTrans1D2" presStyleIdx="1" presStyleCnt="5"/>
      <dgm:spPr/>
    </dgm:pt>
    <dgm:pt modelId="{6069E807-5DBE-47EF-AFF8-DC6C6017951D}" type="pres">
      <dgm:prSet presAssocID="{D0F2C2D4-EB3A-4E69-B830-5FD720F746A2}" presName="hierRoot2" presStyleCnt="0">
        <dgm:presLayoutVars>
          <dgm:hierBranch val="init"/>
        </dgm:presLayoutVars>
      </dgm:prSet>
      <dgm:spPr/>
    </dgm:pt>
    <dgm:pt modelId="{95A4D257-5946-498D-8FA3-BC7441074166}" type="pres">
      <dgm:prSet presAssocID="{D0F2C2D4-EB3A-4E69-B830-5FD720F746A2}" presName="rootComposite" presStyleCnt="0"/>
      <dgm:spPr/>
    </dgm:pt>
    <dgm:pt modelId="{6C6656A4-EDA5-4ABA-9F2D-7D70A1A431D2}" type="pres">
      <dgm:prSet presAssocID="{D0F2C2D4-EB3A-4E69-B830-5FD720F746A2}" presName="rootText" presStyleLbl="node2" presStyleIdx="1" presStyleCnt="5" custScaleX="134199" custScaleY="169498">
        <dgm:presLayoutVars>
          <dgm:chPref val="3"/>
        </dgm:presLayoutVars>
      </dgm:prSet>
      <dgm:spPr/>
      <dgm:t>
        <a:bodyPr/>
        <a:lstStyle/>
        <a:p>
          <a:endParaRPr lang="en-US"/>
        </a:p>
      </dgm:t>
    </dgm:pt>
    <dgm:pt modelId="{6A4FCE71-840F-41AE-96A4-AC423EB932D0}" type="pres">
      <dgm:prSet presAssocID="{D0F2C2D4-EB3A-4E69-B830-5FD720F746A2}" presName="rootConnector" presStyleLbl="node2" presStyleIdx="1" presStyleCnt="5"/>
      <dgm:spPr/>
    </dgm:pt>
    <dgm:pt modelId="{567481FD-D406-487B-A728-52D1425FC3C2}" type="pres">
      <dgm:prSet presAssocID="{D0F2C2D4-EB3A-4E69-B830-5FD720F746A2}" presName="hierChild4" presStyleCnt="0"/>
      <dgm:spPr/>
    </dgm:pt>
    <dgm:pt modelId="{7069B20F-FD81-4CD9-A3CF-9FA2B5E1BBF2}" type="pres">
      <dgm:prSet presAssocID="{D0F2C2D4-EB3A-4E69-B830-5FD720F746A2}" presName="hierChild5" presStyleCnt="0"/>
      <dgm:spPr/>
    </dgm:pt>
    <dgm:pt modelId="{A503F2C4-F831-4D05-8A4E-DA488B3898CC}" type="pres">
      <dgm:prSet presAssocID="{B7BB7F17-D214-4304-AB7C-DFBE1EF2985D}" presName="Name37" presStyleLbl="parChTrans1D2" presStyleIdx="2" presStyleCnt="5"/>
      <dgm:spPr/>
    </dgm:pt>
    <dgm:pt modelId="{8B14D6A6-7EFB-4592-9CD6-26F87D7DFD12}" type="pres">
      <dgm:prSet presAssocID="{DED10DF8-E93F-45E5-82AE-D73E85D50635}" presName="hierRoot2" presStyleCnt="0">
        <dgm:presLayoutVars>
          <dgm:hierBranch val="init"/>
        </dgm:presLayoutVars>
      </dgm:prSet>
      <dgm:spPr/>
    </dgm:pt>
    <dgm:pt modelId="{40554D3D-87C6-4E06-ABFC-F0262AB85D92}" type="pres">
      <dgm:prSet presAssocID="{DED10DF8-E93F-45E5-82AE-D73E85D50635}" presName="rootComposite" presStyleCnt="0"/>
      <dgm:spPr/>
    </dgm:pt>
    <dgm:pt modelId="{095BDCB2-A7EB-4EBD-A909-30A2FA4A87F9}" type="pres">
      <dgm:prSet presAssocID="{DED10DF8-E93F-45E5-82AE-D73E85D50635}" presName="rootText" presStyleLbl="node2" presStyleIdx="2" presStyleCnt="5" custScaleX="146175" custScaleY="209082">
        <dgm:presLayoutVars>
          <dgm:chPref val="3"/>
        </dgm:presLayoutVars>
      </dgm:prSet>
      <dgm:spPr/>
      <dgm:t>
        <a:bodyPr/>
        <a:lstStyle/>
        <a:p>
          <a:endParaRPr lang="en-US"/>
        </a:p>
      </dgm:t>
    </dgm:pt>
    <dgm:pt modelId="{EA707AE8-2F63-4CEE-A097-E6FDC27E1BEB}" type="pres">
      <dgm:prSet presAssocID="{DED10DF8-E93F-45E5-82AE-D73E85D50635}" presName="rootConnector" presStyleLbl="node2" presStyleIdx="2" presStyleCnt="5"/>
      <dgm:spPr/>
    </dgm:pt>
    <dgm:pt modelId="{C3806A5D-9F85-4835-8154-256E186ABC67}" type="pres">
      <dgm:prSet presAssocID="{DED10DF8-E93F-45E5-82AE-D73E85D50635}" presName="hierChild4" presStyleCnt="0"/>
      <dgm:spPr/>
    </dgm:pt>
    <dgm:pt modelId="{9D8FFB83-D112-42B2-9096-3F5218919D8A}" type="pres">
      <dgm:prSet presAssocID="{DED10DF8-E93F-45E5-82AE-D73E85D50635}" presName="hierChild5" presStyleCnt="0"/>
      <dgm:spPr/>
    </dgm:pt>
    <dgm:pt modelId="{A750D14C-145A-4E1D-B854-3B412AB30329}" type="pres">
      <dgm:prSet presAssocID="{EC3C005E-AEA7-4EB5-93C8-465306035A47}" presName="Name37" presStyleLbl="parChTrans1D2" presStyleIdx="3" presStyleCnt="5"/>
      <dgm:spPr/>
    </dgm:pt>
    <dgm:pt modelId="{98E43C82-EE94-4320-B2A6-57FB068FC2A7}" type="pres">
      <dgm:prSet presAssocID="{989D513A-ED7E-4ED6-9EFD-186757700DA1}" presName="hierRoot2" presStyleCnt="0">
        <dgm:presLayoutVars>
          <dgm:hierBranch val="init"/>
        </dgm:presLayoutVars>
      </dgm:prSet>
      <dgm:spPr/>
    </dgm:pt>
    <dgm:pt modelId="{09DF2D47-1BE6-401F-95E1-A2E355F4DB62}" type="pres">
      <dgm:prSet presAssocID="{989D513A-ED7E-4ED6-9EFD-186757700DA1}" presName="rootComposite" presStyleCnt="0"/>
      <dgm:spPr/>
    </dgm:pt>
    <dgm:pt modelId="{89196FAE-833C-4B20-91C6-01A1E2A14E19}" type="pres">
      <dgm:prSet presAssocID="{989D513A-ED7E-4ED6-9EFD-186757700DA1}" presName="rootText" presStyleLbl="node2" presStyleIdx="3" presStyleCnt="5" custScaleX="162332" custScaleY="195164">
        <dgm:presLayoutVars>
          <dgm:chPref val="3"/>
        </dgm:presLayoutVars>
      </dgm:prSet>
      <dgm:spPr/>
      <dgm:t>
        <a:bodyPr/>
        <a:lstStyle/>
        <a:p>
          <a:endParaRPr lang="en-US"/>
        </a:p>
      </dgm:t>
    </dgm:pt>
    <dgm:pt modelId="{6A52FACB-EB6E-421B-B735-D2283A3AD2BA}" type="pres">
      <dgm:prSet presAssocID="{989D513A-ED7E-4ED6-9EFD-186757700DA1}" presName="rootConnector" presStyleLbl="node2" presStyleIdx="3" presStyleCnt="5"/>
      <dgm:spPr/>
    </dgm:pt>
    <dgm:pt modelId="{639DA1F5-664E-4798-864F-BC019D20827E}" type="pres">
      <dgm:prSet presAssocID="{989D513A-ED7E-4ED6-9EFD-186757700DA1}" presName="hierChild4" presStyleCnt="0"/>
      <dgm:spPr/>
    </dgm:pt>
    <dgm:pt modelId="{0CB5657C-BFED-4083-9BF7-9D783EE9F72A}" type="pres">
      <dgm:prSet presAssocID="{989D513A-ED7E-4ED6-9EFD-186757700DA1}" presName="hierChild5" presStyleCnt="0"/>
      <dgm:spPr/>
    </dgm:pt>
    <dgm:pt modelId="{373C1E96-F3AE-42E9-B5EF-03F21F91DD26}" type="pres">
      <dgm:prSet presAssocID="{0A72DBAF-E577-447E-A762-BDFB1F389AE9}" presName="Name37" presStyleLbl="parChTrans1D2" presStyleIdx="4" presStyleCnt="5"/>
      <dgm:spPr/>
    </dgm:pt>
    <dgm:pt modelId="{99607AD1-A07D-46A0-8862-1AD4F5B19256}" type="pres">
      <dgm:prSet presAssocID="{13DBCD1B-0A8F-421E-A9E1-58751A5C1DB6}" presName="hierRoot2" presStyleCnt="0">
        <dgm:presLayoutVars>
          <dgm:hierBranch val="init"/>
        </dgm:presLayoutVars>
      </dgm:prSet>
      <dgm:spPr/>
    </dgm:pt>
    <dgm:pt modelId="{67D08169-8C12-463E-BA6B-73E775226F96}" type="pres">
      <dgm:prSet presAssocID="{13DBCD1B-0A8F-421E-A9E1-58751A5C1DB6}" presName="rootComposite" presStyleCnt="0"/>
      <dgm:spPr/>
    </dgm:pt>
    <dgm:pt modelId="{4963D32F-8B54-4091-8CBC-6FE67471E84E}" type="pres">
      <dgm:prSet presAssocID="{13DBCD1B-0A8F-421E-A9E1-58751A5C1DB6}" presName="rootText" presStyleLbl="node2" presStyleIdx="4" presStyleCnt="5" custScaleY="182331">
        <dgm:presLayoutVars>
          <dgm:chPref val="3"/>
        </dgm:presLayoutVars>
      </dgm:prSet>
      <dgm:spPr/>
      <dgm:t>
        <a:bodyPr/>
        <a:lstStyle/>
        <a:p>
          <a:endParaRPr lang="en-US"/>
        </a:p>
      </dgm:t>
    </dgm:pt>
    <dgm:pt modelId="{7C3939C0-9203-4716-A868-16E948B95D8F}" type="pres">
      <dgm:prSet presAssocID="{13DBCD1B-0A8F-421E-A9E1-58751A5C1DB6}" presName="rootConnector" presStyleLbl="node2" presStyleIdx="4" presStyleCnt="5"/>
      <dgm:spPr/>
    </dgm:pt>
    <dgm:pt modelId="{D1285F5C-0E3D-45A0-9C87-6F38177309F5}" type="pres">
      <dgm:prSet presAssocID="{13DBCD1B-0A8F-421E-A9E1-58751A5C1DB6}" presName="hierChild4" presStyleCnt="0"/>
      <dgm:spPr/>
    </dgm:pt>
    <dgm:pt modelId="{762C91C7-DE50-4E3B-B2EA-686A6185C356}" type="pres">
      <dgm:prSet presAssocID="{13DBCD1B-0A8F-421E-A9E1-58751A5C1DB6}" presName="hierChild5" presStyleCnt="0"/>
      <dgm:spPr/>
    </dgm:pt>
    <dgm:pt modelId="{6310E3F8-1A4D-4535-B1C6-C66DD2E38270}" type="pres">
      <dgm:prSet presAssocID="{2DA53642-2A66-4187-8A40-BBD439CA8A9A}" presName="hierChild3" presStyleCnt="0"/>
      <dgm:spPr/>
    </dgm:pt>
  </dgm:ptLst>
  <dgm:cxnLst>
    <dgm:cxn modelId="{CED0AB18-8B59-4810-A2E0-7E72EF331480}" type="presOf" srcId="{03ABDBDB-58DA-4F57-A56C-D4339ECCBA9D}" destId="{76887A83-86B4-4194-A9B2-54C27AF90053}" srcOrd="0" destOrd="0" presId="urn:microsoft.com/office/officeart/2005/8/layout/orgChart1"/>
    <dgm:cxn modelId="{9EA8A8F3-5447-4C45-A0B8-210364F9514D}" type="presOf" srcId="{15314709-1EE8-4CF6-8546-18906945F332}" destId="{9151FEE0-9986-4CD4-94E1-3AA3CB09E10C}" srcOrd="1" destOrd="0" presId="urn:microsoft.com/office/officeart/2005/8/layout/orgChart1"/>
    <dgm:cxn modelId="{0DC0EA08-B7B2-4A1F-9600-73F8661C2603}" type="presOf" srcId="{989D513A-ED7E-4ED6-9EFD-186757700DA1}" destId="{89196FAE-833C-4B20-91C6-01A1E2A14E19}" srcOrd="0" destOrd="0" presId="urn:microsoft.com/office/officeart/2005/8/layout/orgChart1"/>
    <dgm:cxn modelId="{05E7F9FB-F46A-4F29-816D-EAA68308406C}" type="presOf" srcId="{D0F2C2D4-EB3A-4E69-B830-5FD720F746A2}" destId="{6A4FCE71-840F-41AE-96A4-AC423EB932D0}" srcOrd="1" destOrd="0" presId="urn:microsoft.com/office/officeart/2005/8/layout/orgChart1"/>
    <dgm:cxn modelId="{9D808A4F-C889-427F-9504-BE2F3C266030}" type="presOf" srcId="{FCE0624E-F889-4444-96F4-BC75D5552EE4}" destId="{955A9EF3-8F7C-4042-BC3C-AA1E3316B79D}" srcOrd="0" destOrd="0" presId="urn:microsoft.com/office/officeart/2005/8/layout/orgChart1"/>
    <dgm:cxn modelId="{8FA16EF8-0990-435E-A4D1-B7E33DFDE7D8}" type="presOf" srcId="{7042D234-C81A-489C-B704-ED31E3F5A7C0}" destId="{B7A73D59-46EE-4B93-9C7A-92184412FC3A}" srcOrd="1" destOrd="0" presId="urn:microsoft.com/office/officeart/2005/8/layout/orgChart1"/>
    <dgm:cxn modelId="{269F406F-ADF1-4B31-8D80-3787841CC318}" type="presOf" srcId="{0D993A5C-0562-4BC9-88B2-3DEECB85CF80}" destId="{8170E07E-0930-4FB4-85DA-E1BD8E4DD1CE}" srcOrd="0" destOrd="0" presId="urn:microsoft.com/office/officeart/2005/8/layout/orgChart1"/>
    <dgm:cxn modelId="{6C169639-089F-4A02-812E-D63668BF5163}" srcId="{DAF793C4-DFB0-4F06-BD79-5C7B4A58F930}" destId="{7042D234-C81A-489C-B704-ED31E3F5A7C0}" srcOrd="2" destOrd="0" parTransId="{0D993A5C-0562-4BC9-88B2-3DEECB85CF80}" sibTransId="{9AABECB9-DFB2-4FA3-B321-E5904F9963D3}"/>
    <dgm:cxn modelId="{321BABDF-C753-4B5B-8774-9D1412A402AE}" srcId="{2DA53642-2A66-4187-8A40-BBD439CA8A9A}" destId="{989D513A-ED7E-4ED6-9EFD-186757700DA1}" srcOrd="3" destOrd="0" parTransId="{EC3C005E-AEA7-4EB5-93C8-465306035A47}" sibTransId="{A3DBF3C3-DCCC-4C9D-961C-8BA635C6AE69}"/>
    <dgm:cxn modelId="{91DD640B-E7F6-413D-BF6B-1B3124BA9739}" type="presOf" srcId="{DAF793C4-DFB0-4F06-BD79-5C7B4A58F930}" destId="{9E1A0757-55D8-4683-8B48-8011E62C633F}" srcOrd="0" destOrd="0" presId="urn:microsoft.com/office/officeart/2005/8/layout/orgChart1"/>
    <dgm:cxn modelId="{BA717194-911E-47CC-AFFE-BC4B35AF611D}" type="presOf" srcId="{35FD2D39-FFEB-454A-8337-17C9265191DD}" destId="{7A34B900-74EF-462E-AC50-9BD363718F70}" srcOrd="0" destOrd="0" presId="urn:microsoft.com/office/officeart/2005/8/layout/orgChart1"/>
    <dgm:cxn modelId="{9DDED460-460F-40F8-B585-5D056366F05B}" type="presOf" srcId="{B7BB7F17-D214-4304-AB7C-DFBE1EF2985D}" destId="{A503F2C4-F831-4D05-8A4E-DA488B3898CC}" srcOrd="0" destOrd="0" presId="urn:microsoft.com/office/officeart/2005/8/layout/orgChart1"/>
    <dgm:cxn modelId="{8AC7CFA3-65A7-4C96-BFF5-F7D0AD222167}" type="presOf" srcId="{13DBCD1B-0A8F-421E-A9E1-58751A5C1DB6}" destId="{4963D32F-8B54-4091-8CBC-6FE67471E84E}" srcOrd="0" destOrd="0" presId="urn:microsoft.com/office/officeart/2005/8/layout/orgChart1"/>
    <dgm:cxn modelId="{00347562-D813-4F1D-A8AF-6B9ECE8F2758}" type="presOf" srcId="{0B4CD3FB-3FEF-4616-BF65-C35D43A3B29F}" destId="{996FBA4F-31BA-43A4-A87F-DED5716232E6}" srcOrd="0" destOrd="0" presId="urn:microsoft.com/office/officeart/2005/8/layout/orgChart1"/>
    <dgm:cxn modelId="{A611FDCE-5158-4048-B419-1DC595A0EC45}" srcId="{DAF793C4-DFB0-4F06-BD79-5C7B4A58F930}" destId="{15314709-1EE8-4CF6-8546-18906945F332}" srcOrd="1" destOrd="0" parTransId="{75EBD301-BE02-4679-AEA7-871ADA404FC3}" sibTransId="{249FCEFE-BE7D-4A52-8272-6CBDA27229C4}"/>
    <dgm:cxn modelId="{45DF2621-C09E-4C68-9016-2DC88B11A09C}" srcId="{4D79FBC7-936A-43C9-B177-40F98CC2565A}" destId="{2DA53642-2A66-4187-8A40-BBD439CA8A9A}" srcOrd="0" destOrd="0" parTransId="{12926142-2184-4D86-90FC-45B0FA0BF0D1}" sibTransId="{B531F88B-74D6-433F-B0A6-CA9AD7659277}"/>
    <dgm:cxn modelId="{CBBBDDDF-950F-464B-9613-BCC2762AB756}" type="presOf" srcId="{DAF793C4-DFB0-4F06-BD79-5C7B4A58F930}" destId="{5729912D-D831-422F-AF49-B87BCD9AE887}" srcOrd="1" destOrd="0" presId="urn:microsoft.com/office/officeart/2005/8/layout/orgChart1"/>
    <dgm:cxn modelId="{723F4292-6782-4534-A78E-879F9A3F8FFD}" type="presOf" srcId="{4D79FBC7-936A-43C9-B177-40F98CC2565A}" destId="{45699304-8F13-46AE-9E5D-5A6FDB893A6A}" srcOrd="0" destOrd="0" presId="urn:microsoft.com/office/officeart/2005/8/layout/orgChart1"/>
    <dgm:cxn modelId="{22C1D26D-95DE-46AC-84F3-DA39745BA974}" type="presOf" srcId="{5C791730-02DC-401E-8299-82480B229BE9}" destId="{DC14592E-9CB7-403D-8B9C-9462C1FB5348}" srcOrd="0" destOrd="0" presId="urn:microsoft.com/office/officeart/2005/8/layout/orgChart1"/>
    <dgm:cxn modelId="{CC014C98-C823-4B5B-81DD-7079D3095AFE}" srcId="{1BF654EF-9503-42F8-8497-6526CBBE27CB}" destId="{DAF793C4-DFB0-4F06-BD79-5C7B4A58F930}" srcOrd="0" destOrd="0" parTransId="{E2D62F41-73C4-472C-A1C4-76CE8A75909D}" sibTransId="{EC00CAE1-1BFD-443C-BF96-7944E2BAD4F4}"/>
    <dgm:cxn modelId="{410E9A45-F73B-41FD-BB56-D3ACC11054EB}" srcId="{2DA53642-2A66-4187-8A40-BBD439CA8A9A}" destId="{13DBCD1B-0A8F-421E-A9E1-58751A5C1DB6}" srcOrd="4" destOrd="0" parTransId="{0A72DBAF-E577-447E-A762-BDFB1F389AE9}" sibTransId="{22C49337-BCCB-4890-AB0D-6F06D9948505}"/>
    <dgm:cxn modelId="{1CB10E5F-86B7-4CB1-B56C-3FEFFAE4CA19}" type="presOf" srcId="{0A72DBAF-E577-447E-A762-BDFB1F389AE9}" destId="{373C1E96-F3AE-42E9-B5EF-03F21F91DD26}" srcOrd="0" destOrd="0" presId="urn:microsoft.com/office/officeart/2005/8/layout/orgChart1"/>
    <dgm:cxn modelId="{63F84A63-9435-4A19-A3D2-59E08AB050DB}" type="presOf" srcId="{68D4237F-E751-438C-812E-B9D1E606C565}" destId="{DAC8FC56-988B-4E94-9CAB-26D4D75D8E87}" srcOrd="0" destOrd="0" presId="urn:microsoft.com/office/officeart/2005/8/layout/orgChart1"/>
    <dgm:cxn modelId="{A996EF7D-A008-4D37-BDA6-106B3FC85022}" type="presOf" srcId="{D0F2C2D4-EB3A-4E69-B830-5FD720F746A2}" destId="{6C6656A4-EDA5-4ABA-9F2D-7D70A1A431D2}" srcOrd="0" destOrd="0" presId="urn:microsoft.com/office/officeart/2005/8/layout/orgChart1"/>
    <dgm:cxn modelId="{242BCD79-F298-421D-A1D5-B885A2969B64}" srcId="{1BF654EF-9503-42F8-8497-6526CBBE27CB}" destId="{0B4CD3FB-3FEF-4616-BF65-C35D43A3B29F}" srcOrd="1" destOrd="0" parTransId="{5C791730-02DC-401E-8299-82480B229BE9}" sibTransId="{97D5296D-28DE-408E-8736-54C84D7E9DE8}"/>
    <dgm:cxn modelId="{84E4C45E-AED9-47D8-9811-94CD76171A7A}" type="presOf" srcId="{0B4CD3FB-3FEF-4616-BF65-C35D43A3B29F}" destId="{8E0FCB49-08C3-417C-A8E6-3377F4A95740}" srcOrd="1" destOrd="0" presId="urn:microsoft.com/office/officeart/2005/8/layout/orgChart1"/>
    <dgm:cxn modelId="{57CAD027-F0E2-4851-A5A5-CDC1CD21F2AE}" type="presOf" srcId="{2F9C0F17-49DD-42C5-BDB1-8A9FBDB4A6E2}" destId="{48E203AB-2B70-4DFE-90B2-A1C83155A45F}" srcOrd="1" destOrd="0" presId="urn:microsoft.com/office/officeart/2005/8/layout/orgChart1"/>
    <dgm:cxn modelId="{BF241CB6-A610-4E5A-8325-FEA1C48D102F}" type="presOf" srcId="{7042D234-C81A-489C-B704-ED31E3F5A7C0}" destId="{4062CCFE-CFE6-46C5-9167-B1BF9FF1B6F0}" srcOrd="0" destOrd="0" presId="urn:microsoft.com/office/officeart/2005/8/layout/orgChart1"/>
    <dgm:cxn modelId="{861CA231-C77F-4129-8B32-E5B7D7BCFDB7}" srcId="{2DA53642-2A66-4187-8A40-BBD439CA8A9A}" destId="{DED10DF8-E93F-45E5-82AE-D73E85D50635}" srcOrd="2" destOrd="0" parTransId="{B7BB7F17-D214-4304-AB7C-DFBE1EF2985D}" sibTransId="{09EC4FB8-B49F-4340-A81E-5FFA3544D5CA}"/>
    <dgm:cxn modelId="{74AC8B7E-72C0-46AD-82CA-A646EBF86200}" type="presOf" srcId="{1BF654EF-9503-42F8-8497-6526CBBE27CB}" destId="{6083EB23-586D-4B21-9D78-908F1FD2C7E5}" srcOrd="0" destOrd="0" presId="urn:microsoft.com/office/officeart/2005/8/layout/orgChart1"/>
    <dgm:cxn modelId="{DC484CD3-B3CC-403C-AB18-1C31B6A7C91B}" type="presOf" srcId="{DED10DF8-E93F-45E5-82AE-D73E85D50635}" destId="{EA707AE8-2F63-4CEE-A097-E6FDC27E1BEB}" srcOrd="1" destOrd="0" presId="urn:microsoft.com/office/officeart/2005/8/layout/orgChart1"/>
    <dgm:cxn modelId="{1E938F74-C9F8-469C-AC15-7F4D2B8F00A9}" type="presOf" srcId="{DED10DF8-E93F-45E5-82AE-D73E85D50635}" destId="{095BDCB2-A7EB-4EBD-A909-30A2FA4A87F9}" srcOrd="0" destOrd="0" presId="urn:microsoft.com/office/officeart/2005/8/layout/orgChart1"/>
    <dgm:cxn modelId="{D584A67E-C53C-4C4B-ADC9-40BC7E85BCE7}" type="presOf" srcId="{15314709-1EE8-4CF6-8546-18906945F332}" destId="{2C9B5C99-CDD9-4C79-829C-37A88F1BF669}" srcOrd="0" destOrd="0" presId="urn:microsoft.com/office/officeart/2005/8/layout/orgChart1"/>
    <dgm:cxn modelId="{DD11BA82-4158-4960-9C33-6A86242A1635}" type="presOf" srcId="{2DA53642-2A66-4187-8A40-BBD439CA8A9A}" destId="{3B3B669F-B4BB-4C7D-909A-51945B2471B2}" srcOrd="1" destOrd="0" presId="urn:microsoft.com/office/officeart/2005/8/layout/orgChart1"/>
    <dgm:cxn modelId="{46EE18CA-5569-4795-B596-3DECE93403D4}" type="presOf" srcId="{68D4237F-E751-438C-812E-B9D1E606C565}" destId="{D4B22399-E699-41D4-964E-8420EB098C24}" srcOrd="1" destOrd="0" presId="urn:microsoft.com/office/officeart/2005/8/layout/orgChart1"/>
    <dgm:cxn modelId="{F98EA313-122E-4DDB-9C92-AFD48FD8D938}" type="presOf" srcId="{989D513A-ED7E-4ED6-9EFD-186757700DA1}" destId="{6A52FACB-EB6E-421B-B735-D2283A3AD2BA}" srcOrd="1" destOrd="0" presId="urn:microsoft.com/office/officeart/2005/8/layout/orgChart1"/>
    <dgm:cxn modelId="{EBB2C6E7-7709-47D5-BCA1-BDD62E84A309}" type="presOf" srcId="{E2D62F41-73C4-472C-A1C4-76CE8A75909D}" destId="{4AA411C6-CA82-4C6D-954C-2F2D52B940B9}" srcOrd="0" destOrd="0" presId="urn:microsoft.com/office/officeart/2005/8/layout/orgChart1"/>
    <dgm:cxn modelId="{548779D9-5551-4967-B3C8-BD9434570386}" type="presOf" srcId="{EC3C005E-AEA7-4EB5-93C8-465306035A47}" destId="{A750D14C-145A-4E1D-B854-3B412AB30329}" srcOrd="0" destOrd="0" presId="urn:microsoft.com/office/officeart/2005/8/layout/orgChart1"/>
    <dgm:cxn modelId="{436D0C52-1148-40C6-A418-41BE3B097EA7}" type="presOf" srcId="{AB045F32-1986-4548-8472-887FAC2A1A95}" destId="{4B12810E-F2A2-4F8A-9C7E-864759F33936}" srcOrd="0" destOrd="0" presId="urn:microsoft.com/office/officeart/2005/8/layout/orgChart1"/>
    <dgm:cxn modelId="{949529B4-E120-4E5A-AD8B-FC6A4218929D}" srcId="{DAF793C4-DFB0-4F06-BD79-5C7B4A58F930}" destId="{68D4237F-E751-438C-812E-B9D1E606C565}" srcOrd="0" destOrd="0" parTransId="{03ABDBDB-58DA-4F57-A56C-D4339ECCBA9D}" sibTransId="{33B71AED-1528-49B7-BCF1-7FFCA7A22A0C}"/>
    <dgm:cxn modelId="{F656DF3B-5258-4CC0-BD3F-9385A46EF222}" srcId="{2DA53642-2A66-4187-8A40-BBD439CA8A9A}" destId="{1BF654EF-9503-42F8-8497-6526CBBE27CB}" srcOrd="0" destOrd="0" parTransId="{AB045F32-1986-4548-8472-887FAC2A1A95}" sibTransId="{D485B9E5-EB7A-4F2A-8FE5-5EB64B9B3F2A}"/>
    <dgm:cxn modelId="{5461A038-6BE6-4207-AAB4-21E2E6712048}" srcId="{1BF654EF-9503-42F8-8497-6526CBBE27CB}" destId="{2F9C0F17-49DD-42C5-BDB1-8A9FBDB4A6E2}" srcOrd="2" destOrd="0" parTransId="{FCE0624E-F889-4444-96F4-BC75D5552EE4}" sibTransId="{D2F3B50D-BE3C-49F4-8E6D-4B84158E27D8}"/>
    <dgm:cxn modelId="{F553BABD-51EA-4DC1-AF45-B0E17298CF7B}" type="presOf" srcId="{13DBCD1B-0A8F-421E-A9E1-58751A5C1DB6}" destId="{7C3939C0-9203-4716-A868-16E948B95D8F}" srcOrd="1" destOrd="0" presId="urn:microsoft.com/office/officeart/2005/8/layout/orgChart1"/>
    <dgm:cxn modelId="{1F2D12E4-AB78-44C7-9371-99F2DB800484}" type="presOf" srcId="{1BF654EF-9503-42F8-8497-6526CBBE27CB}" destId="{B6D51242-B0FF-446A-8274-B8620F36C9A0}" srcOrd="1" destOrd="0" presId="urn:microsoft.com/office/officeart/2005/8/layout/orgChart1"/>
    <dgm:cxn modelId="{7E37A587-4BE7-4F9D-9712-08B5551AA880}" type="presOf" srcId="{75EBD301-BE02-4679-AEA7-871ADA404FC3}" destId="{6E91BA28-D626-46C8-83BD-4A3F9AF6BFD5}" srcOrd="0" destOrd="0" presId="urn:microsoft.com/office/officeart/2005/8/layout/orgChart1"/>
    <dgm:cxn modelId="{FB5C5BCF-D108-4C01-9576-9BED6213EAD4}" srcId="{2DA53642-2A66-4187-8A40-BBD439CA8A9A}" destId="{D0F2C2D4-EB3A-4E69-B830-5FD720F746A2}" srcOrd="1" destOrd="0" parTransId="{35FD2D39-FFEB-454A-8337-17C9265191DD}" sibTransId="{2AAD61CD-9FB4-43D8-B7B9-976121CCBB9A}"/>
    <dgm:cxn modelId="{58FCFC26-C8B0-4972-B898-61301E6CDE9A}" type="presOf" srcId="{2F9C0F17-49DD-42C5-BDB1-8A9FBDB4A6E2}" destId="{8AD0E512-0F34-40F8-B109-F189D6B2F4D7}" srcOrd="0" destOrd="0" presId="urn:microsoft.com/office/officeart/2005/8/layout/orgChart1"/>
    <dgm:cxn modelId="{A1772F1D-E166-49AD-B1B1-2DDE2370AAE1}" type="presOf" srcId="{2DA53642-2A66-4187-8A40-BBD439CA8A9A}" destId="{3A7687FB-E5CF-464B-8EFE-D19BA45B711D}" srcOrd="0" destOrd="0" presId="urn:microsoft.com/office/officeart/2005/8/layout/orgChart1"/>
    <dgm:cxn modelId="{146066A9-A448-4C5C-B6BB-EF1418E3459F}" type="presParOf" srcId="{45699304-8F13-46AE-9E5D-5A6FDB893A6A}" destId="{4197ED4A-0D93-4095-A18F-DDE92899BB93}" srcOrd="0" destOrd="0" presId="urn:microsoft.com/office/officeart/2005/8/layout/orgChart1"/>
    <dgm:cxn modelId="{CB4987EB-7322-440F-9157-3A0A1441E67A}" type="presParOf" srcId="{4197ED4A-0D93-4095-A18F-DDE92899BB93}" destId="{21B487FD-6CDA-468F-B06D-09D856775990}" srcOrd="0" destOrd="0" presId="urn:microsoft.com/office/officeart/2005/8/layout/orgChart1"/>
    <dgm:cxn modelId="{6D166002-B9C9-40BA-B5B9-C02F57CA5816}" type="presParOf" srcId="{21B487FD-6CDA-468F-B06D-09D856775990}" destId="{3A7687FB-E5CF-464B-8EFE-D19BA45B711D}" srcOrd="0" destOrd="0" presId="urn:microsoft.com/office/officeart/2005/8/layout/orgChart1"/>
    <dgm:cxn modelId="{93701A39-75E5-4AD9-95FB-0B2212D64EF5}" type="presParOf" srcId="{21B487FD-6CDA-468F-B06D-09D856775990}" destId="{3B3B669F-B4BB-4C7D-909A-51945B2471B2}" srcOrd="1" destOrd="0" presId="urn:microsoft.com/office/officeart/2005/8/layout/orgChart1"/>
    <dgm:cxn modelId="{32977704-4158-4BC2-AD46-C62A88197343}" type="presParOf" srcId="{4197ED4A-0D93-4095-A18F-DDE92899BB93}" destId="{CFE12947-9988-4D10-8F5F-39CFAB342CB4}" srcOrd="1" destOrd="0" presId="urn:microsoft.com/office/officeart/2005/8/layout/orgChart1"/>
    <dgm:cxn modelId="{14759290-C735-4254-9BEF-FE2A59B92E6B}" type="presParOf" srcId="{CFE12947-9988-4D10-8F5F-39CFAB342CB4}" destId="{4B12810E-F2A2-4F8A-9C7E-864759F33936}" srcOrd="0" destOrd="0" presId="urn:microsoft.com/office/officeart/2005/8/layout/orgChart1"/>
    <dgm:cxn modelId="{30F5183A-F83B-4A65-9EC6-6B19C51930C2}" type="presParOf" srcId="{CFE12947-9988-4D10-8F5F-39CFAB342CB4}" destId="{0D558A3A-DAF5-4B1A-9423-B96F9DB9868F}" srcOrd="1" destOrd="0" presId="urn:microsoft.com/office/officeart/2005/8/layout/orgChart1"/>
    <dgm:cxn modelId="{D1241C45-D48F-4F40-A5AC-18D0584CC5C3}" type="presParOf" srcId="{0D558A3A-DAF5-4B1A-9423-B96F9DB9868F}" destId="{A81F16E4-45FE-4D83-AD8C-112EABBFA1B0}" srcOrd="0" destOrd="0" presId="urn:microsoft.com/office/officeart/2005/8/layout/orgChart1"/>
    <dgm:cxn modelId="{CB740D09-2B70-44C8-AE1A-5D713CBD48CA}" type="presParOf" srcId="{A81F16E4-45FE-4D83-AD8C-112EABBFA1B0}" destId="{6083EB23-586D-4B21-9D78-908F1FD2C7E5}" srcOrd="0" destOrd="0" presId="urn:microsoft.com/office/officeart/2005/8/layout/orgChart1"/>
    <dgm:cxn modelId="{00CC9EE7-489F-4966-9659-D30B35F70DDC}" type="presParOf" srcId="{A81F16E4-45FE-4D83-AD8C-112EABBFA1B0}" destId="{B6D51242-B0FF-446A-8274-B8620F36C9A0}" srcOrd="1" destOrd="0" presId="urn:microsoft.com/office/officeart/2005/8/layout/orgChart1"/>
    <dgm:cxn modelId="{18509A91-6DF2-4EE3-8868-9D702602F298}" type="presParOf" srcId="{0D558A3A-DAF5-4B1A-9423-B96F9DB9868F}" destId="{0B32AA75-2DC4-4E95-B32E-5E42AD7FC3EB}" srcOrd="1" destOrd="0" presId="urn:microsoft.com/office/officeart/2005/8/layout/orgChart1"/>
    <dgm:cxn modelId="{3E4E57AD-668A-49A3-AE71-FAB8F03C63DB}" type="presParOf" srcId="{0B32AA75-2DC4-4E95-B32E-5E42AD7FC3EB}" destId="{4AA411C6-CA82-4C6D-954C-2F2D52B940B9}" srcOrd="0" destOrd="0" presId="urn:microsoft.com/office/officeart/2005/8/layout/orgChart1"/>
    <dgm:cxn modelId="{3305041A-E210-499C-AD80-A1C5F5EB6489}" type="presParOf" srcId="{0B32AA75-2DC4-4E95-B32E-5E42AD7FC3EB}" destId="{FCEB0567-97E5-492B-8D7C-0B3822AF2D2C}" srcOrd="1" destOrd="0" presId="urn:microsoft.com/office/officeart/2005/8/layout/orgChart1"/>
    <dgm:cxn modelId="{5552F2B4-0D30-40E2-82CD-4DC017EA31CB}" type="presParOf" srcId="{FCEB0567-97E5-492B-8D7C-0B3822AF2D2C}" destId="{161CCB44-0C7F-4783-9964-2964E7B4E2ED}" srcOrd="0" destOrd="0" presId="urn:microsoft.com/office/officeart/2005/8/layout/orgChart1"/>
    <dgm:cxn modelId="{8C0479D6-4582-47C3-ABD8-F95C990C234B}" type="presParOf" srcId="{161CCB44-0C7F-4783-9964-2964E7B4E2ED}" destId="{9E1A0757-55D8-4683-8B48-8011E62C633F}" srcOrd="0" destOrd="0" presId="urn:microsoft.com/office/officeart/2005/8/layout/orgChart1"/>
    <dgm:cxn modelId="{2617ADBD-B833-4DD2-98F0-E1ED2C7A09BE}" type="presParOf" srcId="{161CCB44-0C7F-4783-9964-2964E7B4E2ED}" destId="{5729912D-D831-422F-AF49-B87BCD9AE887}" srcOrd="1" destOrd="0" presId="urn:microsoft.com/office/officeart/2005/8/layout/orgChart1"/>
    <dgm:cxn modelId="{A5949568-4D8D-46E1-B938-FD9DDD6D2314}" type="presParOf" srcId="{FCEB0567-97E5-492B-8D7C-0B3822AF2D2C}" destId="{EC6EBB0E-E87D-4F8C-B826-34140034AA48}" srcOrd="1" destOrd="0" presId="urn:microsoft.com/office/officeart/2005/8/layout/orgChart1"/>
    <dgm:cxn modelId="{80BFCAEB-A945-4CCE-8F84-6AF103DFC32B}" type="presParOf" srcId="{EC6EBB0E-E87D-4F8C-B826-34140034AA48}" destId="{76887A83-86B4-4194-A9B2-54C27AF90053}" srcOrd="0" destOrd="0" presId="urn:microsoft.com/office/officeart/2005/8/layout/orgChart1"/>
    <dgm:cxn modelId="{C62E6FF3-3270-4459-A65C-1C79539CE5DA}" type="presParOf" srcId="{EC6EBB0E-E87D-4F8C-B826-34140034AA48}" destId="{F2F4B932-2DC4-4750-8ABA-998453A163A8}" srcOrd="1" destOrd="0" presId="urn:microsoft.com/office/officeart/2005/8/layout/orgChart1"/>
    <dgm:cxn modelId="{2277CBD2-8278-4F2B-9C75-454C7947C5EB}" type="presParOf" srcId="{F2F4B932-2DC4-4750-8ABA-998453A163A8}" destId="{82177056-ACB5-43C5-9F56-4BB817229DBE}" srcOrd="0" destOrd="0" presId="urn:microsoft.com/office/officeart/2005/8/layout/orgChart1"/>
    <dgm:cxn modelId="{76610B19-F92E-4DEE-8741-F1B4E699B4AD}" type="presParOf" srcId="{82177056-ACB5-43C5-9F56-4BB817229DBE}" destId="{DAC8FC56-988B-4E94-9CAB-26D4D75D8E87}" srcOrd="0" destOrd="0" presId="urn:microsoft.com/office/officeart/2005/8/layout/orgChart1"/>
    <dgm:cxn modelId="{A2802C03-936F-4811-8247-0E9692EB6E42}" type="presParOf" srcId="{82177056-ACB5-43C5-9F56-4BB817229DBE}" destId="{D4B22399-E699-41D4-964E-8420EB098C24}" srcOrd="1" destOrd="0" presId="urn:microsoft.com/office/officeart/2005/8/layout/orgChart1"/>
    <dgm:cxn modelId="{BE8F9599-FE05-4B00-A89F-CF9AAB4E3DB0}" type="presParOf" srcId="{F2F4B932-2DC4-4750-8ABA-998453A163A8}" destId="{DA5EC634-79D0-49B0-B21E-8F0D87B52651}" srcOrd="1" destOrd="0" presId="urn:microsoft.com/office/officeart/2005/8/layout/orgChart1"/>
    <dgm:cxn modelId="{1797691F-BE86-42CB-B561-1C2E278718B9}" type="presParOf" srcId="{F2F4B932-2DC4-4750-8ABA-998453A163A8}" destId="{212477B8-FB17-4D17-970E-E702A738E97A}" srcOrd="2" destOrd="0" presId="urn:microsoft.com/office/officeart/2005/8/layout/orgChart1"/>
    <dgm:cxn modelId="{7EC87B4F-9300-42B1-9CAC-032CFBF76185}" type="presParOf" srcId="{EC6EBB0E-E87D-4F8C-B826-34140034AA48}" destId="{6E91BA28-D626-46C8-83BD-4A3F9AF6BFD5}" srcOrd="2" destOrd="0" presId="urn:microsoft.com/office/officeart/2005/8/layout/orgChart1"/>
    <dgm:cxn modelId="{29745C4A-83F1-4F23-B8BE-C42E57DCCEBE}" type="presParOf" srcId="{EC6EBB0E-E87D-4F8C-B826-34140034AA48}" destId="{AAAACE1E-F52F-4920-B344-1308AE84E1C6}" srcOrd="3" destOrd="0" presId="urn:microsoft.com/office/officeart/2005/8/layout/orgChart1"/>
    <dgm:cxn modelId="{DAD0D46D-3246-4BB6-8D3B-AA5FE90E53E5}" type="presParOf" srcId="{AAAACE1E-F52F-4920-B344-1308AE84E1C6}" destId="{D2A0AC30-F7B0-446C-AB2B-91AC0E94570F}" srcOrd="0" destOrd="0" presId="urn:microsoft.com/office/officeart/2005/8/layout/orgChart1"/>
    <dgm:cxn modelId="{195B28AE-F819-48EA-B8B7-E744C803B106}" type="presParOf" srcId="{D2A0AC30-F7B0-446C-AB2B-91AC0E94570F}" destId="{2C9B5C99-CDD9-4C79-829C-37A88F1BF669}" srcOrd="0" destOrd="0" presId="urn:microsoft.com/office/officeart/2005/8/layout/orgChart1"/>
    <dgm:cxn modelId="{C9C130B3-8DB7-4F30-A80E-EB56FC9F43E6}" type="presParOf" srcId="{D2A0AC30-F7B0-446C-AB2B-91AC0E94570F}" destId="{9151FEE0-9986-4CD4-94E1-3AA3CB09E10C}" srcOrd="1" destOrd="0" presId="urn:microsoft.com/office/officeart/2005/8/layout/orgChart1"/>
    <dgm:cxn modelId="{BD11211E-10DB-46E2-8DEC-2637DA588146}" type="presParOf" srcId="{AAAACE1E-F52F-4920-B344-1308AE84E1C6}" destId="{A012768F-8D26-4D68-86A3-449FE7598B2D}" srcOrd="1" destOrd="0" presId="urn:microsoft.com/office/officeart/2005/8/layout/orgChart1"/>
    <dgm:cxn modelId="{C03DCAE1-8573-4575-B39D-E9A36C657FBC}" type="presParOf" srcId="{AAAACE1E-F52F-4920-B344-1308AE84E1C6}" destId="{3CF6EDCA-7A0B-4471-8E8A-D68A4F568C0F}" srcOrd="2" destOrd="0" presId="urn:microsoft.com/office/officeart/2005/8/layout/orgChart1"/>
    <dgm:cxn modelId="{115CF8C7-48D7-4C99-B94C-532EF05599A6}" type="presParOf" srcId="{EC6EBB0E-E87D-4F8C-B826-34140034AA48}" destId="{8170E07E-0930-4FB4-85DA-E1BD8E4DD1CE}" srcOrd="4" destOrd="0" presId="urn:microsoft.com/office/officeart/2005/8/layout/orgChart1"/>
    <dgm:cxn modelId="{CA8DC165-7579-4538-B45B-6E08B7266684}" type="presParOf" srcId="{EC6EBB0E-E87D-4F8C-B826-34140034AA48}" destId="{3E2A11BC-7396-42EB-833F-15B58B6C4C4A}" srcOrd="5" destOrd="0" presId="urn:microsoft.com/office/officeart/2005/8/layout/orgChart1"/>
    <dgm:cxn modelId="{985066F5-7D93-420C-909A-CAC54935DDA1}" type="presParOf" srcId="{3E2A11BC-7396-42EB-833F-15B58B6C4C4A}" destId="{02C9941D-6BE5-4CA7-A752-16BE3B2709B3}" srcOrd="0" destOrd="0" presId="urn:microsoft.com/office/officeart/2005/8/layout/orgChart1"/>
    <dgm:cxn modelId="{88943314-6753-4C42-98A7-F6C68F78FF53}" type="presParOf" srcId="{02C9941D-6BE5-4CA7-A752-16BE3B2709B3}" destId="{4062CCFE-CFE6-46C5-9167-B1BF9FF1B6F0}" srcOrd="0" destOrd="0" presId="urn:microsoft.com/office/officeart/2005/8/layout/orgChart1"/>
    <dgm:cxn modelId="{88F62F05-3A20-453C-8B13-D9B4BC64424C}" type="presParOf" srcId="{02C9941D-6BE5-4CA7-A752-16BE3B2709B3}" destId="{B7A73D59-46EE-4B93-9C7A-92184412FC3A}" srcOrd="1" destOrd="0" presId="urn:microsoft.com/office/officeart/2005/8/layout/orgChart1"/>
    <dgm:cxn modelId="{DC1B8A1D-E983-4F92-BA8D-90ECDC4AD6EA}" type="presParOf" srcId="{3E2A11BC-7396-42EB-833F-15B58B6C4C4A}" destId="{95E93999-E11E-4F30-8C86-911E47EE1D86}" srcOrd="1" destOrd="0" presId="urn:microsoft.com/office/officeart/2005/8/layout/orgChart1"/>
    <dgm:cxn modelId="{5D0AF9FF-F3AA-49A2-A395-B893A4FE890E}" type="presParOf" srcId="{3E2A11BC-7396-42EB-833F-15B58B6C4C4A}" destId="{9F194E39-39CD-4847-9240-8F5114CF8025}" srcOrd="2" destOrd="0" presId="urn:microsoft.com/office/officeart/2005/8/layout/orgChart1"/>
    <dgm:cxn modelId="{BBCAC0EE-A343-4492-956A-F389FBB386C4}" type="presParOf" srcId="{FCEB0567-97E5-492B-8D7C-0B3822AF2D2C}" destId="{B08964DA-3D20-402C-A6BE-36422D048B0A}" srcOrd="2" destOrd="0" presId="urn:microsoft.com/office/officeart/2005/8/layout/orgChart1"/>
    <dgm:cxn modelId="{801D863E-AF8E-452B-A8B7-14D1248E9C93}" type="presParOf" srcId="{0B32AA75-2DC4-4E95-B32E-5E42AD7FC3EB}" destId="{DC14592E-9CB7-403D-8B9C-9462C1FB5348}" srcOrd="2" destOrd="0" presId="urn:microsoft.com/office/officeart/2005/8/layout/orgChart1"/>
    <dgm:cxn modelId="{2EA7F974-CBCD-4EB4-BC3D-7941AF904969}" type="presParOf" srcId="{0B32AA75-2DC4-4E95-B32E-5E42AD7FC3EB}" destId="{94122BF6-0727-40FF-AE56-928EAFA1E2F4}" srcOrd="3" destOrd="0" presId="urn:microsoft.com/office/officeart/2005/8/layout/orgChart1"/>
    <dgm:cxn modelId="{18DFAB9C-2CFE-4C9A-AC47-07C86FF01762}" type="presParOf" srcId="{94122BF6-0727-40FF-AE56-928EAFA1E2F4}" destId="{4616E34B-0CB1-4B77-82FA-B45AAA595801}" srcOrd="0" destOrd="0" presId="urn:microsoft.com/office/officeart/2005/8/layout/orgChart1"/>
    <dgm:cxn modelId="{ABE7EC91-3DA8-4662-8B07-57B9CB57E8E3}" type="presParOf" srcId="{4616E34B-0CB1-4B77-82FA-B45AAA595801}" destId="{996FBA4F-31BA-43A4-A87F-DED5716232E6}" srcOrd="0" destOrd="0" presId="urn:microsoft.com/office/officeart/2005/8/layout/orgChart1"/>
    <dgm:cxn modelId="{ECFF8E5E-5809-43E3-8660-6A87978D860D}" type="presParOf" srcId="{4616E34B-0CB1-4B77-82FA-B45AAA595801}" destId="{8E0FCB49-08C3-417C-A8E6-3377F4A95740}" srcOrd="1" destOrd="0" presId="urn:microsoft.com/office/officeart/2005/8/layout/orgChart1"/>
    <dgm:cxn modelId="{04E49BCE-BF16-4F41-B57A-AA943008E9F0}" type="presParOf" srcId="{94122BF6-0727-40FF-AE56-928EAFA1E2F4}" destId="{FCBC26E6-AB59-4F37-BB92-CA7C21161EE8}" srcOrd="1" destOrd="0" presId="urn:microsoft.com/office/officeart/2005/8/layout/orgChart1"/>
    <dgm:cxn modelId="{5C9BB263-1BCE-4CA2-ADC7-8175057D7B4A}" type="presParOf" srcId="{94122BF6-0727-40FF-AE56-928EAFA1E2F4}" destId="{02043FA9-1502-40B0-BEED-5E265A4FC3E4}" srcOrd="2" destOrd="0" presId="urn:microsoft.com/office/officeart/2005/8/layout/orgChart1"/>
    <dgm:cxn modelId="{5B80FF63-2E60-4B89-AA9F-4998DC4A0802}" type="presParOf" srcId="{0B32AA75-2DC4-4E95-B32E-5E42AD7FC3EB}" destId="{955A9EF3-8F7C-4042-BC3C-AA1E3316B79D}" srcOrd="4" destOrd="0" presId="urn:microsoft.com/office/officeart/2005/8/layout/orgChart1"/>
    <dgm:cxn modelId="{5F56F59E-2513-4682-A53E-8EB7756BF954}" type="presParOf" srcId="{0B32AA75-2DC4-4E95-B32E-5E42AD7FC3EB}" destId="{54660E9C-6B0D-4282-B84E-0D38A4C113F6}" srcOrd="5" destOrd="0" presId="urn:microsoft.com/office/officeart/2005/8/layout/orgChart1"/>
    <dgm:cxn modelId="{C58F2FC0-CE18-493A-8C61-E3255FBF9FC9}" type="presParOf" srcId="{54660E9C-6B0D-4282-B84E-0D38A4C113F6}" destId="{5A1DA9A3-0364-44C6-948C-7FB6C4B683E5}" srcOrd="0" destOrd="0" presId="urn:microsoft.com/office/officeart/2005/8/layout/orgChart1"/>
    <dgm:cxn modelId="{25973FF9-2B6E-4133-A9F6-83048633DD9C}" type="presParOf" srcId="{5A1DA9A3-0364-44C6-948C-7FB6C4B683E5}" destId="{8AD0E512-0F34-40F8-B109-F189D6B2F4D7}" srcOrd="0" destOrd="0" presId="urn:microsoft.com/office/officeart/2005/8/layout/orgChart1"/>
    <dgm:cxn modelId="{A8BAE29B-085E-41AA-A2B3-E5E019595D8A}" type="presParOf" srcId="{5A1DA9A3-0364-44C6-948C-7FB6C4B683E5}" destId="{48E203AB-2B70-4DFE-90B2-A1C83155A45F}" srcOrd="1" destOrd="0" presId="urn:microsoft.com/office/officeart/2005/8/layout/orgChart1"/>
    <dgm:cxn modelId="{255FC7F2-0225-4C14-8400-B627FDB5CE9F}" type="presParOf" srcId="{54660E9C-6B0D-4282-B84E-0D38A4C113F6}" destId="{EE00CD78-DA0D-4B1C-AF15-650647C792AE}" srcOrd="1" destOrd="0" presId="urn:microsoft.com/office/officeart/2005/8/layout/orgChart1"/>
    <dgm:cxn modelId="{BF4CBD5E-C0B5-4E9D-B126-BF132D59D78B}" type="presParOf" srcId="{54660E9C-6B0D-4282-B84E-0D38A4C113F6}" destId="{3A2CBCE7-019B-403B-AD3E-E0B5119F1D86}" srcOrd="2" destOrd="0" presId="urn:microsoft.com/office/officeart/2005/8/layout/orgChart1"/>
    <dgm:cxn modelId="{5434725F-E4FB-4641-94B9-D0799A080D9C}" type="presParOf" srcId="{0D558A3A-DAF5-4B1A-9423-B96F9DB9868F}" destId="{D54EB879-FDBF-4E12-82E3-3907D13ABD31}" srcOrd="2" destOrd="0" presId="urn:microsoft.com/office/officeart/2005/8/layout/orgChart1"/>
    <dgm:cxn modelId="{B4DA707D-852B-48B1-8E7D-BE23EA36B946}" type="presParOf" srcId="{CFE12947-9988-4D10-8F5F-39CFAB342CB4}" destId="{7A34B900-74EF-462E-AC50-9BD363718F70}" srcOrd="2" destOrd="0" presId="urn:microsoft.com/office/officeart/2005/8/layout/orgChart1"/>
    <dgm:cxn modelId="{C3F97010-77E4-4146-8730-DB88AEC9E019}" type="presParOf" srcId="{CFE12947-9988-4D10-8F5F-39CFAB342CB4}" destId="{6069E807-5DBE-47EF-AFF8-DC6C6017951D}" srcOrd="3" destOrd="0" presId="urn:microsoft.com/office/officeart/2005/8/layout/orgChart1"/>
    <dgm:cxn modelId="{54E74A52-49CF-4321-A3A3-575DC631EFA4}" type="presParOf" srcId="{6069E807-5DBE-47EF-AFF8-DC6C6017951D}" destId="{95A4D257-5946-498D-8FA3-BC7441074166}" srcOrd="0" destOrd="0" presId="urn:microsoft.com/office/officeart/2005/8/layout/orgChart1"/>
    <dgm:cxn modelId="{38EDF187-C53B-43FE-8810-C3ACF75EE8DD}" type="presParOf" srcId="{95A4D257-5946-498D-8FA3-BC7441074166}" destId="{6C6656A4-EDA5-4ABA-9F2D-7D70A1A431D2}" srcOrd="0" destOrd="0" presId="urn:microsoft.com/office/officeart/2005/8/layout/orgChart1"/>
    <dgm:cxn modelId="{0CFD2429-A6C1-4AFE-90E0-C7022435495B}" type="presParOf" srcId="{95A4D257-5946-498D-8FA3-BC7441074166}" destId="{6A4FCE71-840F-41AE-96A4-AC423EB932D0}" srcOrd="1" destOrd="0" presId="urn:microsoft.com/office/officeart/2005/8/layout/orgChart1"/>
    <dgm:cxn modelId="{1D0EE7C7-61F0-438B-9C28-02D65CB157AC}" type="presParOf" srcId="{6069E807-5DBE-47EF-AFF8-DC6C6017951D}" destId="{567481FD-D406-487B-A728-52D1425FC3C2}" srcOrd="1" destOrd="0" presId="urn:microsoft.com/office/officeart/2005/8/layout/orgChart1"/>
    <dgm:cxn modelId="{F474949A-D7F3-4008-9F73-F89E39BA0548}" type="presParOf" srcId="{6069E807-5DBE-47EF-AFF8-DC6C6017951D}" destId="{7069B20F-FD81-4CD9-A3CF-9FA2B5E1BBF2}" srcOrd="2" destOrd="0" presId="urn:microsoft.com/office/officeart/2005/8/layout/orgChart1"/>
    <dgm:cxn modelId="{8B826AA9-966E-4903-986A-7B6322FE032B}" type="presParOf" srcId="{CFE12947-9988-4D10-8F5F-39CFAB342CB4}" destId="{A503F2C4-F831-4D05-8A4E-DA488B3898CC}" srcOrd="4" destOrd="0" presId="urn:microsoft.com/office/officeart/2005/8/layout/orgChart1"/>
    <dgm:cxn modelId="{B1E4B81C-FAE7-4943-80F0-891CC89AFE8C}" type="presParOf" srcId="{CFE12947-9988-4D10-8F5F-39CFAB342CB4}" destId="{8B14D6A6-7EFB-4592-9CD6-26F87D7DFD12}" srcOrd="5" destOrd="0" presId="urn:microsoft.com/office/officeart/2005/8/layout/orgChart1"/>
    <dgm:cxn modelId="{52A1E587-3282-411C-8BF6-FDF37B764463}" type="presParOf" srcId="{8B14D6A6-7EFB-4592-9CD6-26F87D7DFD12}" destId="{40554D3D-87C6-4E06-ABFC-F0262AB85D92}" srcOrd="0" destOrd="0" presId="urn:microsoft.com/office/officeart/2005/8/layout/orgChart1"/>
    <dgm:cxn modelId="{0E32751E-137E-471E-A3B5-956715D25763}" type="presParOf" srcId="{40554D3D-87C6-4E06-ABFC-F0262AB85D92}" destId="{095BDCB2-A7EB-4EBD-A909-30A2FA4A87F9}" srcOrd="0" destOrd="0" presId="urn:microsoft.com/office/officeart/2005/8/layout/orgChart1"/>
    <dgm:cxn modelId="{786287A6-30A9-4BD1-8E5F-F6304F5A8106}" type="presParOf" srcId="{40554D3D-87C6-4E06-ABFC-F0262AB85D92}" destId="{EA707AE8-2F63-4CEE-A097-E6FDC27E1BEB}" srcOrd="1" destOrd="0" presId="urn:microsoft.com/office/officeart/2005/8/layout/orgChart1"/>
    <dgm:cxn modelId="{2D5038A8-D21E-4A98-8E3D-3ACE12F4829C}" type="presParOf" srcId="{8B14D6A6-7EFB-4592-9CD6-26F87D7DFD12}" destId="{C3806A5D-9F85-4835-8154-256E186ABC67}" srcOrd="1" destOrd="0" presId="urn:microsoft.com/office/officeart/2005/8/layout/orgChart1"/>
    <dgm:cxn modelId="{3CCE53E5-827A-418B-976A-242A641098EB}" type="presParOf" srcId="{8B14D6A6-7EFB-4592-9CD6-26F87D7DFD12}" destId="{9D8FFB83-D112-42B2-9096-3F5218919D8A}" srcOrd="2" destOrd="0" presId="urn:microsoft.com/office/officeart/2005/8/layout/orgChart1"/>
    <dgm:cxn modelId="{BB7C16A3-375B-4156-8B7E-480FA7A5F950}" type="presParOf" srcId="{CFE12947-9988-4D10-8F5F-39CFAB342CB4}" destId="{A750D14C-145A-4E1D-B854-3B412AB30329}" srcOrd="6" destOrd="0" presId="urn:microsoft.com/office/officeart/2005/8/layout/orgChart1"/>
    <dgm:cxn modelId="{EE28FA9D-2365-46BD-8459-8B54983A7295}" type="presParOf" srcId="{CFE12947-9988-4D10-8F5F-39CFAB342CB4}" destId="{98E43C82-EE94-4320-B2A6-57FB068FC2A7}" srcOrd="7" destOrd="0" presId="urn:microsoft.com/office/officeart/2005/8/layout/orgChart1"/>
    <dgm:cxn modelId="{AF39B2CC-03E4-42FC-B70B-90CA01C4A488}" type="presParOf" srcId="{98E43C82-EE94-4320-B2A6-57FB068FC2A7}" destId="{09DF2D47-1BE6-401F-95E1-A2E355F4DB62}" srcOrd="0" destOrd="0" presId="urn:microsoft.com/office/officeart/2005/8/layout/orgChart1"/>
    <dgm:cxn modelId="{B1FE9854-4A19-4B47-926D-B12AD60DBAA2}" type="presParOf" srcId="{09DF2D47-1BE6-401F-95E1-A2E355F4DB62}" destId="{89196FAE-833C-4B20-91C6-01A1E2A14E19}" srcOrd="0" destOrd="0" presId="urn:microsoft.com/office/officeart/2005/8/layout/orgChart1"/>
    <dgm:cxn modelId="{A4DAEB7F-5B04-43AF-B867-464FAB5C0A37}" type="presParOf" srcId="{09DF2D47-1BE6-401F-95E1-A2E355F4DB62}" destId="{6A52FACB-EB6E-421B-B735-D2283A3AD2BA}" srcOrd="1" destOrd="0" presId="urn:microsoft.com/office/officeart/2005/8/layout/orgChart1"/>
    <dgm:cxn modelId="{8C20321E-8C77-496E-9D7B-95CC44FE7EBB}" type="presParOf" srcId="{98E43C82-EE94-4320-B2A6-57FB068FC2A7}" destId="{639DA1F5-664E-4798-864F-BC019D20827E}" srcOrd="1" destOrd="0" presId="urn:microsoft.com/office/officeart/2005/8/layout/orgChart1"/>
    <dgm:cxn modelId="{404F1ECC-EE5D-4C62-81F5-E5782025F4D9}" type="presParOf" srcId="{98E43C82-EE94-4320-B2A6-57FB068FC2A7}" destId="{0CB5657C-BFED-4083-9BF7-9D783EE9F72A}" srcOrd="2" destOrd="0" presId="urn:microsoft.com/office/officeart/2005/8/layout/orgChart1"/>
    <dgm:cxn modelId="{618C5838-B7BD-4040-BFAD-C9A434FB9250}" type="presParOf" srcId="{CFE12947-9988-4D10-8F5F-39CFAB342CB4}" destId="{373C1E96-F3AE-42E9-B5EF-03F21F91DD26}" srcOrd="8" destOrd="0" presId="urn:microsoft.com/office/officeart/2005/8/layout/orgChart1"/>
    <dgm:cxn modelId="{B9C2F45C-4E66-4522-B912-C34E2E108A85}" type="presParOf" srcId="{CFE12947-9988-4D10-8F5F-39CFAB342CB4}" destId="{99607AD1-A07D-46A0-8862-1AD4F5B19256}" srcOrd="9" destOrd="0" presId="urn:microsoft.com/office/officeart/2005/8/layout/orgChart1"/>
    <dgm:cxn modelId="{92F3D90D-ECA8-456C-840E-BB0A6DCDC6BD}" type="presParOf" srcId="{99607AD1-A07D-46A0-8862-1AD4F5B19256}" destId="{67D08169-8C12-463E-BA6B-73E775226F96}" srcOrd="0" destOrd="0" presId="urn:microsoft.com/office/officeart/2005/8/layout/orgChart1"/>
    <dgm:cxn modelId="{3FF6941C-5ADC-4A11-9A53-A55ED07CFE30}" type="presParOf" srcId="{67D08169-8C12-463E-BA6B-73E775226F96}" destId="{4963D32F-8B54-4091-8CBC-6FE67471E84E}" srcOrd="0" destOrd="0" presId="urn:microsoft.com/office/officeart/2005/8/layout/orgChart1"/>
    <dgm:cxn modelId="{EBAEB6D2-D6E4-4A33-819F-C98159EC4211}" type="presParOf" srcId="{67D08169-8C12-463E-BA6B-73E775226F96}" destId="{7C3939C0-9203-4716-A868-16E948B95D8F}" srcOrd="1" destOrd="0" presId="urn:microsoft.com/office/officeart/2005/8/layout/orgChart1"/>
    <dgm:cxn modelId="{2EB8CC9C-B967-4D95-8AB2-632A08D64A76}" type="presParOf" srcId="{99607AD1-A07D-46A0-8862-1AD4F5B19256}" destId="{D1285F5C-0E3D-45A0-9C87-6F38177309F5}" srcOrd="1" destOrd="0" presId="urn:microsoft.com/office/officeart/2005/8/layout/orgChart1"/>
    <dgm:cxn modelId="{8B0CAA14-4360-49FD-A202-2E094DA2D315}" type="presParOf" srcId="{99607AD1-A07D-46A0-8862-1AD4F5B19256}" destId="{762C91C7-DE50-4E3B-B2EA-686A6185C356}" srcOrd="2" destOrd="0" presId="urn:microsoft.com/office/officeart/2005/8/layout/orgChart1"/>
    <dgm:cxn modelId="{F17658D1-074C-4162-B498-FDE92D5C894F}" type="presParOf" srcId="{4197ED4A-0D93-4095-A18F-DDE92899BB93}" destId="{6310E3F8-1A4D-4535-B1C6-C66DD2E38270}" srcOrd="2" destOrd="0" presId="urn:microsoft.com/office/officeart/2005/8/layout/orgChar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73C1E96-F3AE-42E9-B5EF-03F21F91DD26}">
      <dsp:nvSpPr>
        <dsp:cNvPr id="0" name=""/>
        <dsp:cNvSpPr/>
      </dsp:nvSpPr>
      <dsp:spPr>
        <a:xfrm>
          <a:off x="5225346" y="740983"/>
          <a:ext cx="2670307" cy="231720"/>
        </a:xfrm>
        <a:custGeom>
          <a:avLst/>
          <a:gdLst/>
          <a:ahLst/>
          <a:cxnLst/>
          <a:rect l="0" t="0" r="0" b="0"/>
          <a:pathLst>
            <a:path>
              <a:moveTo>
                <a:pt x="0" y="0"/>
              </a:moveTo>
              <a:lnTo>
                <a:pt x="0" y="115860"/>
              </a:lnTo>
              <a:lnTo>
                <a:pt x="2670307" y="115860"/>
              </a:lnTo>
              <a:lnTo>
                <a:pt x="2670307" y="23172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750D14C-145A-4E1D-B854-3B412AB30329}">
      <dsp:nvSpPr>
        <dsp:cNvPr id="0" name=""/>
        <dsp:cNvSpPr/>
      </dsp:nvSpPr>
      <dsp:spPr>
        <a:xfrm>
          <a:off x="5225346" y="740983"/>
          <a:ext cx="1335153" cy="231720"/>
        </a:xfrm>
        <a:custGeom>
          <a:avLst/>
          <a:gdLst/>
          <a:ahLst/>
          <a:cxnLst/>
          <a:rect l="0" t="0" r="0" b="0"/>
          <a:pathLst>
            <a:path>
              <a:moveTo>
                <a:pt x="0" y="0"/>
              </a:moveTo>
              <a:lnTo>
                <a:pt x="0" y="115860"/>
              </a:lnTo>
              <a:lnTo>
                <a:pt x="1335153" y="115860"/>
              </a:lnTo>
              <a:lnTo>
                <a:pt x="1335153" y="23172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503F2C4-F831-4D05-8A4E-DA488B3898CC}">
      <dsp:nvSpPr>
        <dsp:cNvPr id="0" name=""/>
        <dsp:cNvSpPr/>
      </dsp:nvSpPr>
      <dsp:spPr>
        <a:xfrm>
          <a:off x="5179626" y="740983"/>
          <a:ext cx="91440" cy="231720"/>
        </a:xfrm>
        <a:custGeom>
          <a:avLst/>
          <a:gdLst/>
          <a:ahLst/>
          <a:cxnLst/>
          <a:rect l="0" t="0" r="0" b="0"/>
          <a:pathLst>
            <a:path>
              <a:moveTo>
                <a:pt x="45720" y="0"/>
              </a:moveTo>
              <a:lnTo>
                <a:pt x="45720" y="23172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34B900-74EF-462E-AC50-9BD363718F70}">
      <dsp:nvSpPr>
        <dsp:cNvPr id="0" name=""/>
        <dsp:cNvSpPr/>
      </dsp:nvSpPr>
      <dsp:spPr>
        <a:xfrm>
          <a:off x="3890193" y="740983"/>
          <a:ext cx="1335153" cy="231720"/>
        </a:xfrm>
        <a:custGeom>
          <a:avLst/>
          <a:gdLst/>
          <a:ahLst/>
          <a:cxnLst/>
          <a:rect l="0" t="0" r="0" b="0"/>
          <a:pathLst>
            <a:path>
              <a:moveTo>
                <a:pt x="1335153" y="0"/>
              </a:moveTo>
              <a:lnTo>
                <a:pt x="1335153" y="115860"/>
              </a:lnTo>
              <a:lnTo>
                <a:pt x="0" y="115860"/>
              </a:lnTo>
              <a:lnTo>
                <a:pt x="0" y="23172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5A9EF3-8F7C-4042-BC3C-AA1E3316B79D}">
      <dsp:nvSpPr>
        <dsp:cNvPr id="0" name=""/>
        <dsp:cNvSpPr/>
      </dsp:nvSpPr>
      <dsp:spPr>
        <a:xfrm>
          <a:off x="2555039" y="1524420"/>
          <a:ext cx="1335153" cy="231720"/>
        </a:xfrm>
        <a:custGeom>
          <a:avLst/>
          <a:gdLst/>
          <a:ahLst/>
          <a:cxnLst/>
          <a:rect l="0" t="0" r="0" b="0"/>
          <a:pathLst>
            <a:path>
              <a:moveTo>
                <a:pt x="0" y="0"/>
              </a:moveTo>
              <a:lnTo>
                <a:pt x="0" y="115860"/>
              </a:lnTo>
              <a:lnTo>
                <a:pt x="1335153" y="115860"/>
              </a:lnTo>
              <a:lnTo>
                <a:pt x="1335153" y="231720"/>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14592E-9CB7-403D-8B9C-9462C1FB5348}">
      <dsp:nvSpPr>
        <dsp:cNvPr id="0" name=""/>
        <dsp:cNvSpPr/>
      </dsp:nvSpPr>
      <dsp:spPr>
        <a:xfrm>
          <a:off x="2509319" y="1524420"/>
          <a:ext cx="91440" cy="231720"/>
        </a:xfrm>
        <a:custGeom>
          <a:avLst/>
          <a:gdLst/>
          <a:ahLst/>
          <a:cxnLst/>
          <a:rect l="0" t="0" r="0" b="0"/>
          <a:pathLst>
            <a:path>
              <a:moveTo>
                <a:pt x="45720" y="0"/>
              </a:moveTo>
              <a:lnTo>
                <a:pt x="45720" y="231720"/>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E91BA28-D626-46C8-83BD-4A3F9AF6BFD5}">
      <dsp:nvSpPr>
        <dsp:cNvPr id="0" name=""/>
        <dsp:cNvSpPr/>
      </dsp:nvSpPr>
      <dsp:spPr>
        <a:xfrm>
          <a:off x="1219886" y="2307858"/>
          <a:ext cx="667576" cy="231720"/>
        </a:xfrm>
        <a:custGeom>
          <a:avLst/>
          <a:gdLst/>
          <a:ahLst/>
          <a:cxnLst/>
          <a:rect l="0" t="0" r="0" b="0"/>
          <a:pathLst>
            <a:path>
              <a:moveTo>
                <a:pt x="0" y="0"/>
              </a:moveTo>
              <a:lnTo>
                <a:pt x="0" y="115860"/>
              </a:lnTo>
              <a:lnTo>
                <a:pt x="667576" y="115860"/>
              </a:lnTo>
              <a:lnTo>
                <a:pt x="667576" y="231720"/>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4ECEF73-F47B-452B-8E82-5802F2618B8F}">
      <dsp:nvSpPr>
        <dsp:cNvPr id="0" name=""/>
        <dsp:cNvSpPr/>
      </dsp:nvSpPr>
      <dsp:spPr>
        <a:xfrm>
          <a:off x="110936" y="3091295"/>
          <a:ext cx="165514" cy="507579"/>
        </a:xfrm>
        <a:custGeom>
          <a:avLst/>
          <a:gdLst/>
          <a:ahLst/>
          <a:cxnLst/>
          <a:rect l="0" t="0" r="0" b="0"/>
          <a:pathLst>
            <a:path>
              <a:moveTo>
                <a:pt x="0" y="0"/>
              </a:moveTo>
              <a:lnTo>
                <a:pt x="0" y="507579"/>
              </a:lnTo>
              <a:lnTo>
                <a:pt x="165514" y="50757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6887A83-86B4-4194-A9B2-54C27AF90053}">
      <dsp:nvSpPr>
        <dsp:cNvPr id="0" name=""/>
        <dsp:cNvSpPr/>
      </dsp:nvSpPr>
      <dsp:spPr>
        <a:xfrm>
          <a:off x="552309" y="2307858"/>
          <a:ext cx="667576" cy="231720"/>
        </a:xfrm>
        <a:custGeom>
          <a:avLst/>
          <a:gdLst/>
          <a:ahLst/>
          <a:cxnLst/>
          <a:rect l="0" t="0" r="0" b="0"/>
          <a:pathLst>
            <a:path>
              <a:moveTo>
                <a:pt x="667576" y="0"/>
              </a:moveTo>
              <a:lnTo>
                <a:pt x="667576" y="115860"/>
              </a:lnTo>
              <a:lnTo>
                <a:pt x="0" y="115860"/>
              </a:lnTo>
              <a:lnTo>
                <a:pt x="0" y="231720"/>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A411C6-CA82-4C6D-954C-2F2D52B940B9}">
      <dsp:nvSpPr>
        <dsp:cNvPr id="0" name=""/>
        <dsp:cNvSpPr/>
      </dsp:nvSpPr>
      <dsp:spPr>
        <a:xfrm>
          <a:off x="1219886" y="1524420"/>
          <a:ext cx="1335153" cy="231720"/>
        </a:xfrm>
        <a:custGeom>
          <a:avLst/>
          <a:gdLst/>
          <a:ahLst/>
          <a:cxnLst/>
          <a:rect l="0" t="0" r="0" b="0"/>
          <a:pathLst>
            <a:path>
              <a:moveTo>
                <a:pt x="1335153" y="0"/>
              </a:moveTo>
              <a:lnTo>
                <a:pt x="1335153" y="115860"/>
              </a:lnTo>
              <a:lnTo>
                <a:pt x="0" y="115860"/>
              </a:lnTo>
              <a:lnTo>
                <a:pt x="0" y="231720"/>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B12810E-F2A2-4F8A-9C7E-864759F33936}">
      <dsp:nvSpPr>
        <dsp:cNvPr id="0" name=""/>
        <dsp:cNvSpPr/>
      </dsp:nvSpPr>
      <dsp:spPr>
        <a:xfrm>
          <a:off x="2555039" y="740983"/>
          <a:ext cx="2670307" cy="231720"/>
        </a:xfrm>
        <a:custGeom>
          <a:avLst/>
          <a:gdLst/>
          <a:ahLst/>
          <a:cxnLst/>
          <a:rect l="0" t="0" r="0" b="0"/>
          <a:pathLst>
            <a:path>
              <a:moveTo>
                <a:pt x="2670307" y="0"/>
              </a:moveTo>
              <a:lnTo>
                <a:pt x="2670307" y="115860"/>
              </a:lnTo>
              <a:lnTo>
                <a:pt x="0" y="115860"/>
              </a:lnTo>
              <a:lnTo>
                <a:pt x="0" y="23172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7687FB-E5CF-464B-8EFE-D19BA45B711D}">
      <dsp:nvSpPr>
        <dsp:cNvPr id="0" name=""/>
        <dsp:cNvSpPr/>
      </dsp:nvSpPr>
      <dsp:spPr>
        <a:xfrm>
          <a:off x="4673630" y="189267"/>
          <a:ext cx="1103432" cy="5517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Capgemini</a:t>
          </a:r>
          <a:endParaRPr lang="en-US" sz="1800" b="1" kern="1200" dirty="0"/>
        </a:p>
      </dsp:txBody>
      <dsp:txXfrm>
        <a:off x="4673630" y="189267"/>
        <a:ext cx="1103432" cy="551716"/>
      </dsp:txXfrm>
    </dsp:sp>
    <dsp:sp modelId="{6083EB23-586D-4B21-9D78-908F1FD2C7E5}">
      <dsp:nvSpPr>
        <dsp:cNvPr id="0" name=""/>
        <dsp:cNvSpPr/>
      </dsp:nvSpPr>
      <dsp:spPr>
        <a:xfrm>
          <a:off x="2003323" y="972704"/>
          <a:ext cx="1103432" cy="551716"/>
        </a:xfrm>
        <a:prstGeom prst="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Financial Services </a:t>
          </a:r>
          <a:endParaRPr lang="en-US" sz="1800" b="1" kern="1200" dirty="0"/>
        </a:p>
      </dsp:txBody>
      <dsp:txXfrm>
        <a:off x="2003323" y="972704"/>
        <a:ext cx="1103432" cy="551716"/>
      </dsp:txXfrm>
    </dsp:sp>
    <dsp:sp modelId="{9E1A0757-55D8-4683-8B48-8011E62C633F}">
      <dsp:nvSpPr>
        <dsp:cNvPr id="0" name=""/>
        <dsp:cNvSpPr/>
      </dsp:nvSpPr>
      <dsp:spPr>
        <a:xfrm>
          <a:off x="668169" y="1756141"/>
          <a:ext cx="1103432" cy="551716"/>
        </a:xfrm>
        <a:prstGeom prst="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TDI</a:t>
          </a:r>
          <a:endParaRPr lang="en-US" sz="1800" b="1" kern="1200" dirty="0"/>
        </a:p>
      </dsp:txBody>
      <dsp:txXfrm>
        <a:off x="668169" y="1756141"/>
        <a:ext cx="1103432" cy="551716"/>
      </dsp:txXfrm>
    </dsp:sp>
    <dsp:sp modelId="{DAC8FC56-988B-4E94-9CAB-26D4D75D8E87}">
      <dsp:nvSpPr>
        <dsp:cNvPr id="0" name=""/>
        <dsp:cNvSpPr/>
      </dsp:nvSpPr>
      <dsp:spPr>
        <a:xfrm>
          <a:off x="592" y="2539579"/>
          <a:ext cx="1103432" cy="551716"/>
        </a:xfrm>
        <a:prstGeom prst="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Microsoft</a:t>
          </a:r>
          <a:endParaRPr lang="en-US" sz="1800" kern="1200" dirty="0"/>
        </a:p>
      </dsp:txBody>
      <dsp:txXfrm>
        <a:off x="592" y="2539579"/>
        <a:ext cx="1103432" cy="551716"/>
      </dsp:txXfrm>
    </dsp:sp>
    <dsp:sp modelId="{189A368B-6188-4D74-A45C-E07439A74748}">
      <dsp:nvSpPr>
        <dsp:cNvPr id="0" name=""/>
        <dsp:cNvSpPr/>
      </dsp:nvSpPr>
      <dsp:spPr>
        <a:xfrm>
          <a:off x="276451" y="3323016"/>
          <a:ext cx="2219643" cy="551716"/>
        </a:xfrm>
        <a:prstGeom prst="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Enterprise Learning Services (ELS) </a:t>
          </a:r>
          <a:endParaRPr lang="en-US" sz="1800" kern="1200" dirty="0"/>
        </a:p>
      </dsp:txBody>
      <dsp:txXfrm>
        <a:off x="276451" y="3323016"/>
        <a:ext cx="2219643" cy="551716"/>
      </dsp:txXfrm>
    </dsp:sp>
    <dsp:sp modelId="{2C9B5C99-CDD9-4C79-829C-37A88F1BF669}">
      <dsp:nvSpPr>
        <dsp:cNvPr id="0" name=""/>
        <dsp:cNvSpPr/>
      </dsp:nvSpPr>
      <dsp:spPr>
        <a:xfrm>
          <a:off x="1335746" y="2539579"/>
          <a:ext cx="1103432" cy="5517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Java etc</a:t>
          </a:r>
          <a:endParaRPr lang="en-US" sz="1800" kern="1200" dirty="0"/>
        </a:p>
      </dsp:txBody>
      <dsp:txXfrm>
        <a:off x="1335746" y="2539579"/>
        <a:ext cx="1103432" cy="551716"/>
      </dsp:txXfrm>
    </dsp:sp>
    <dsp:sp modelId="{996FBA4F-31BA-43A4-A87F-DED5716232E6}">
      <dsp:nvSpPr>
        <dsp:cNvPr id="0" name=""/>
        <dsp:cNvSpPr/>
      </dsp:nvSpPr>
      <dsp:spPr>
        <a:xfrm>
          <a:off x="2003323" y="1756141"/>
          <a:ext cx="1103432" cy="5517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Testing</a:t>
          </a:r>
          <a:endParaRPr lang="en-US" sz="1800" kern="1200" dirty="0"/>
        </a:p>
      </dsp:txBody>
      <dsp:txXfrm>
        <a:off x="2003323" y="1756141"/>
        <a:ext cx="1103432" cy="551716"/>
      </dsp:txXfrm>
    </dsp:sp>
    <dsp:sp modelId="{8AD0E512-0F34-40F8-B109-F189D6B2F4D7}">
      <dsp:nvSpPr>
        <dsp:cNvPr id="0" name=""/>
        <dsp:cNvSpPr/>
      </dsp:nvSpPr>
      <dsp:spPr>
        <a:xfrm>
          <a:off x="3338476" y="1756141"/>
          <a:ext cx="1103432" cy="5517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BI</a:t>
          </a:r>
          <a:endParaRPr lang="en-US" sz="1800" kern="1200" dirty="0"/>
        </a:p>
      </dsp:txBody>
      <dsp:txXfrm>
        <a:off x="3338476" y="1756141"/>
        <a:ext cx="1103432" cy="551716"/>
      </dsp:txXfrm>
    </dsp:sp>
    <dsp:sp modelId="{6C6656A4-EDA5-4ABA-9F2D-7D70A1A431D2}">
      <dsp:nvSpPr>
        <dsp:cNvPr id="0" name=""/>
        <dsp:cNvSpPr/>
      </dsp:nvSpPr>
      <dsp:spPr>
        <a:xfrm>
          <a:off x="3338476" y="972704"/>
          <a:ext cx="1103432" cy="5517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AppsOne</a:t>
          </a:r>
          <a:endParaRPr lang="en-US" sz="1800" b="1" kern="1200" dirty="0"/>
        </a:p>
      </dsp:txBody>
      <dsp:txXfrm>
        <a:off x="3338476" y="972704"/>
        <a:ext cx="1103432" cy="551716"/>
      </dsp:txXfrm>
    </dsp:sp>
    <dsp:sp modelId="{095BDCB2-A7EB-4EBD-A909-30A2FA4A87F9}">
      <dsp:nvSpPr>
        <dsp:cNvPr id="0" name=""/>
        <dsp:cNvSpPr/>
      </dsp:nvSpPr>
      <dsp:spPr>
        <a:xfrm>
          <a:off x="4673630" y="972704"/>
          <a:ext cx="1103432" cy="551716"/>
        </a:xfrm>
        <a:prstGeom prst="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AppsTwo</a:t>
          </a:r>
        </a:p>
      </dsp:txBody>
      <dsp:txXfrm>
        <a:off x="4673630" y="972704"/>
        <a:ext cx="1103432" cy="551716"/>
      </dsp:txXfrm>
    </dsp:sp>
    <dsp:sp modelId="{89196FAE-833C-4B20-91C6-01A1E2A14E19}">
      <dsp:nvSpPr>
        <dsp:cNvPr id="0" name=""/>
        <dsp:cNvSpPr/>
      </dsp:nvSpPr>
      <dsp:spPr>
        <a:xfrm>
          <a:off x="6008783" y="972704"/>
          <a:ext cx="1103432" cy="5517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Sogeti</a:t>
          </a:r>
          <a:endParaRPr lang="en-US" sz="1800" b="1" kern="1200" dirty="0"/>
        </a:p>
      </dsp:txBody>
      <dsp:txXfrm>
        <a:off x="6008783" y="972704"/>
        <a:ext cx="1103432" cy="551716"/>
      </dsp:txXfrm>
    </dsp:sp>
    <dsp:sp modelId="{4963D32F-8B54-4091-8CBC-6FE67471E84E}">
      <dsp:nvSpPr>
        <dsp:cNvPr id="0" name=""/>
        <dsp:cNvSpPr/>
      </dsp:nvSpPr>
      <dsp:spPr>
        <a:xfrm>
          <a:off x="7343937" y="972704"/>
          <a:ext cx="1103432" cy="5517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Capgemini Consulting</a:t>
          </a:r>
          <a:endParaRPr lang="en-US" sz="1800" b="1" kern="1200" dirty="0"/>
        </a:p>
      </dsp:txBody>
      <dsp:txXfrm>
        <a:off x="7343937" y="972704"/>
        <a:ext cx="1103432" cy="55171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82C42FD-137E-4C85-8887-5016C171BD5F}">
      <dsp:nvSpPr>
        <dsp:cNvPr id="0" name=""/>
        <dsp:cNvSpPr/>
      </dsp:nvSpPr>
      <dsp:spPr>
        <a:xfrm>
          <a:off x="3497319" y="1319460"/>
          <a:ext cx="1702236" cy="555357"/>
        </a:xfrm>
        <a:custGeom>
          <a:avLst/>
          <a:gdLst/>
          <a:ahLst/>
          <a:cxnLst/>
          <a:rect l="0" t="0" r="0" b="0"/>
          <a:pathLst>
            <a:path>
              <a:moveTo>
                <a:pt x="0" y="0"/>
              </a:moveTo>
              <a:lnTo>
                <a:pt x="0" y="278270"/>
              </a:lnTo>
              <a:lnTo>
                <a:pt x="1702236" y="278270"/>
              </a:lnTo>
              <a:lnTo>
                <a:pt x="1702236" y="555357"/>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07565F-6879-4B90-89AF-B43891F0B51A}">
      <dsp:nvSpPr>
        <dsp:cNvPr id="0" name=""/>
        <dsp:cNvSpPr/>
      </dsp:nvSpPr>
      <dsp:spPr>
        <a:xfrm>
          <a:off x="2006460" y="1319460"/>
          <a:ext cx="1490858" cy="555357"/>
        </a:xfrm>
        <a:custGeom>
          <a:avLst/>
          <a:gdLst/>
          <a:ahLst/>
          <a:cxnLst/>
          <a:rect l="0" t="0" r="0" b="0"/>
          <a:pathLst>
            <a:path>
              <a:moveTo>
                <a:pt x="1490858" y="0"/>
              </a:moveTo>
              <a:lnTo>
                <a:pt x="1490858" y="278270"/>
              </a:lnTo>
              <a:lnTo>
                <a:pt x="0" y="278270"/>
              </a:lnTo>
              <a:lnTo>
                <a:pt x="0" y="555357"/>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8157A57-F390-4CF1-A53B-9A2E465585C5}">
      <dsp:nvSpPr>
        <dsp:cNvPr id="0" name=""/>
        <dsp:cNvSpPr/>
      </dsp:nvSpPr>
      <dsp:spPr>
        <a:xfrm>
          <a:off x="167857" y="0"/>
          <a:ext cx="6658923" cy="1319460"/>
        </a:xfrm>
        <a:prstGeom prst="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Enterprise Learning Services (ELS)</a:t>
          </a:r>
          <a:endParaRPr lang="en-US" sz="1800" b="1" kern="1200" dirty="0"/>
        </a:p>
      </dsp:txBody>
      <dsp:txXfrm>
        <a:off x="167857" y="0"/>
        <a:ext cx="6658923" cy="1319460"/>
      </dsp:txXfrm>
    </dsp:sp>
    <dsp:sp modelId="{35E30C0E-B219-434F-8B2D-6A53522E0926}">
      <dsp:nvSpPr>
        <dsp:cNvPr id="0" name=""/>
        <dsp:cNvSpPr/>
      </dsp:nvSpPr>
      <dsp:spPr>
        <a:xfrm>
          <a:off x="686999" y="1874818"/>
          <a:ext cx="2638921" cy="1319460"/>
        </a:xfrm>
        <a:prstGeom prst="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University </a:t>
          </a:r>
          <a:endParaRPr lang="en-US" sz="1800" b="1" kern="1200" dirty="0"/>
        </a:p>
      </dsp:txBody>
      <dsp:txXfrm>
        <a:off x="686999" y="1874818"/>
        <a:ext cx="2638921" cy="1319460"/>
      </dsp:txXfrm>
    </dsp:sp>
    <dsp:sp modelId="{26B4F400-6934-4782-B4D9-7263BABFA7BC}">
      <dsp:nvSpPr>
        <dsp:cNvPr id="0" name=""/>
        <dsp:cNvSpPr/>
      </dsp:nvSpPr>
      <dsp:spPr>
        <a:xfrm>
          <a:off x="3880094" y="1874818"/>
          <a:ext cx="2638921" cy="1319460"/>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Non-University team</a:t>
          </a:r>
          <a:endParaRPr lang="en-US" sz="1800" b="1" kern="1200" dirty="0"/>
        </a:p>
      </dsp:txBody>
      <dsp:txXfrm>
        <a:off x="3880094" y="1874818"/>
        <a:ext cx="2638921" cy="131946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73C1E96-F3AE-42E9-B5EF-03F21F91DD26}">
      <dsp:nvSpPr>
        <dsp:cNvPr id="0" name=""/>
        <dsp:cNvSpPr/>
      </dsp:nvSpPr>
      <dsp:spPr>
        <a:xfrm>
          <a:off x="4913083" y="575212"/>
          <a:ext cx="3131345" cy="167023"/>
        </a:xfrm>
        <a:custGeom>
          <a:avLst/>
          <a:gdLst/>
          <a:ahLst/>
          <a:cxnLst/>
          <a:rect l="0" t="0" r="0" b="0"/>
          <a:pathLst>
            <a:path>
              <a:moveTo>
                <a:pt x="0" y="0"/>
              </a:moveTo>
              <a:lnTo>
                <a:pt x="0" y="83511"/>
              </a:lnTo>
              <a:lnTo>
                <a:pt x="3131345" y="83511"/>
              </a:lnTo>
              <a:lnTo>
                <a:pt x="3131345" y="167023"/>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750D14C-145A-4E1D-B854-3B412AB30329}">
      <dsp:nvSpPr>
        <dsp:cNvPr id="0" name=""/>
        <dsp:cNvSpPr/>
      </dsp:nvSpPr>
      <dsp:spPr>
        <a:xfrm>
          <a:off x="4913083" y="575212"/>
          <a:ext cx="1921095" cy="167023"/>
        </a:xfrm>
        <a:custGeom>
          <a:avLst/>
          <a:gdLst/>
          <a:ahLst/>
          <a:cxnLst/>
          <a:rect l="0" t="0" r="0" b="0"/>
          <a:pathLst>
            <a:path>
              <a:moveTo>
                <a:pt x="0" y="0"/>
              </a:moveTo>
              <a:lnTo>
                <a:pt x="0" y="83511"/>
              </a:lnTo>
              <a:lnTo>
                <a:pt x="1921095" y="83511"/>
              </a:lnTo>
              <a:lnTo>
                <a:pt x="1921095" y="167023"/>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503F2C4-F831-4D05-8A4E-DA488B3898CC}">
      <dsp:nvSpPr>
        <dsp:cNvPr id="0" name=""/>
        <dsp:cNvSpPr/>
      </dsp:nvSpPr>
      <dsp:spPr>
        <a:xfrm>
          <a:off x="4913083" y="575212"/>
          <a:ext cx="527220" cy="167023"/>
        </a:xfrm>
        <a:custGeom>
          <a:avLst/>
          <a:gdLst/>
          <a:ahLst/>
          <a:cxnLst/>
          <a:rect l="0" t="0" r="0" b="0"/>
          <a:pathLst>
            <a:path>
              <a:moveTo>
                <a:pt x="0" y="0"/>
              </a:moveTo>
              <a:lnTo>
                <a:pt x="0" y="83511"/>
              </a:lnTo>
              <a:lnTo>
                <a:pt x="527220" y="83511"/>
              </a:lnTo>
              <a:lnTo>
                <a:pt x="527220" y="167023"/>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34B900-74EF-462E-AC50-9BD363718F70}">
      <dsp:nvSpPr>
        <dsp:cNvPr id="0" name=""/>
        <dsp:cNvSpPr/>
      </dsp:nvSpPr>
      <dsp:spPr>
        <a:xfrm>
          <a:off x="4014474" y="575212"/>
          <a:ext cx="898608" cy="167023"/>
        </a:xfrm>
        <a:custGeom>
          <a:avLst/>
          <a:gdLst/>
          <a:ahLst/>
          <a:cxnLst/>
          <a:rect l="0" t="0" r="0" b="0"/>
          <a:pathLst>
            <a:path>
              <a:moveTo>
                <a:pt x="898608" y="0"/>
              </a:moveTo>
              <a:lnTo>
                <a:pt x="898608" y="83511"/>
              </a:lnTo>
              <a:lnTo>
                <a:pt x="0" y="83511"/>
              </a:lnTo>
              <a:lnTo>
                <a:pt x="0" y="167023"/>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5A9EF3-8F7C-4042-BC3C-AA1E3316B79D}">
      <dsp:nvSpPr>
        <dsp:cNvPr id="0" name=""/>
        <dsp:cNvSpPr/>
      </dsp:nvSpPr>
      <dsp:spPr>
        <a:xfrm>
          <a:off x="2348920" y="1351054"/>
          <a:ext cx="1541770" cy="167023"/>
        </a:xfrm>
        <a:custGeom>
          <a:avLst/>
          <a:gdLst/>
          <a:ahLst/>
          <a:cxnLst/>
          <a:rect l="0" t="0" r="0" b="0"/>
          <a:pathLst>
            <a:path>
              <a:moveTo>
                <a:pt x="0" y="0"/>
              </a:moveTo>
              <a:lnTo>
                <a:pt x="0" y="83511"/>
              </a:lnTo>
              <a:lnTo>
                <a:pt x="1541770" y="83511"/>
              </a:lnTo>
              <a:lnTo>
                <a:pt x="1541770" y="167023"/>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14592E-9CB7-403D-8B9C-9462C1FB5348}">
      <dsp:nvSpPr>
        <dsp:cNvPr id="0" name=""/>
        <dsp:cNvSpPr/>
      </dsp:nvSpPr>
      <dsp:spPr>
        <a:xfrm>
          <a:off x="2229495" y="1351054"/>
          <a:ext cx="119425" cy="167023"/>
        </a:xfrm>
        <a:custGeom>
          <a:avLst/>
          <a:gdLst/>
          <a:ahLst/>
          <a:cxnLst/>
          <a:rect l="0" t="0" r="0" b="0"/>
          <a:pathLst>
            <a:path>
              <a:moveTo>
                <a:pt x="119425" y="0"/>
              </a:moveTo>
              <a:lnTo>
                <a:pt x="119425" y="83511"/>
              </a:lnTo>
              <a:lnTo>
                <a:pt x="0" y="83511"/>
              </a:lnTo>
              <a:lnTo>
                <a:pt x="0" y="167023"/>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70E07E-0930-4FB4-85DA-E1BD8E4DD1CE}">
      <dsp:nvSpPr>
        <dsp:cNvPr id="0" name=""/>
        <dsp:cNvSpPr/>
      </dsp:nvSpPr>
      <dsp:spPr>
        <a:xfrm>
          <a:off x="142233" y="2192370"/>
          <a:ext cx="204559" cy="1495254"/>
        </a:xfrm>
        <a:custGeom>
          <a:avLst/>
          <a:gdLst/>
          <a:ahLst/>
          <a:cxnLst/>
          <a:rect l="0" t="0" r="0" b="0"/>
          <a:pathLst>
            <a:path>
              <a:moveTo>
                <a:pt x="0" y="0"/>
              </a:moveTo>
              <a:lnTo>
                <a:pt x="0" y="1495254"/>
              </a:lnTo>
              <a:lnTo>
                <a:pt x="204559" y="1495254"/>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E91BA28-D626-46C8-83BD-4A3F9AF6BFD5}">
      <dsp:nvSpPr>
        <dsp:cNvPr id="0" name=""/>
        <dsp:cNvSpPr/>
      </dsp:nvSpPr>
      <dsp:spPr>
        <a:xfrm>
          <a:off x="142233" y="2192370"/>
          <a:ext cx="204559" cy="930557"/>
        </a:xfrm>
        <a:custGeom>
          <a:avLst/>
          <a:gdLst/>
          <a:ahLst/>
          <a:cxnLst/>
          <a:rect l="0" t="0" r="0" b="0"/>
          <a:pathLst>
            <a:path>
              <a:moveTo>
                <a:pt x="0" y="0"/>
              </a:moveTo>
              <a:lnTo>
                <a:pt x="0" y="930557"/>
              </a:lnTo>
              <a:lnTo>
                <a:pt x="204559" y="930557"/>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6887A83-86B4-4194-A9B2-54C27AF90053}">
      <dsp:nvSpPr>
        <dsp:cNvPr id="0" name=""/>
        <dsp:cNvSpPr/>
      </dsp:nvSpPr>
      <dsp:spPr>
        <a:xfrm>
          <a:off x="142233" y="2192370"/>
          <a:ext cx="204559" cy="365860"/>
        </a:xfrm>
        <a:custGeom>
          <a:avLst/>
          <a:gdLst/>
          <a:ahLst/>
          <a:cxnLst/>
          <a:rect l="0" t="0" r="0" b="0"/>
          <a:pathLst>
            <a:path>
              <a:moveTo>
                <a:pt x="0" y="0"/>
              </a:moveTo>
              <a:lnTo>
                <a:pt x="0" y="365860"/>
              </a:lnTo>
              <a:lnTo>
                <a:pt x="204559" y="365860"/>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A411C6-CA82-4C6D-954C-2F2D52B940B9}">
      <dsp:nvSpPr>
        <dsp:cNvPr id="0" name=""/>
        <dsp:cNvSpPr/>
      </dsp:nvSpPr>
      <dsp:spPr>
        <a:xfrm>
          <a:off x="687724" y="1351054"/>
          <a:ext cx="1661195" cy="167023"/>
        </a:xfrm>
        <a:custGeom>
          <a:avLst/>
          <a:gdLst/>
          <a:ahLst/>
          <a:cxnLst/>
          <a:rect l="0" t="0" r="0" b="0"/>
          <a:pathLst>
            <a:path>
              <a:moveTo>
                <a:pt x="1661195" y="0"/>
              </a:moveTo>
              <a:lnTo>
                <a:pt x="1661195" y="83511"/>
              </a:lnTo>
              <a:lnTo>
                <a:pt x="0" y="83511"/>
              </a:lnTo>
              <a:lnTo>
                <a:pt x="0" y="167023"/>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B12810E-F2A2-4F8A-9C7E-864759F33936}">
      <dsp:nvSpPr>
        <dsp:cNvPr id="0" name=""/>
        <dsp:cNvSpPr/>
      </dsp:nvSpPr>
      <dsp:spPr>
        <a:xfrm>
          <a:off x="2348920" y="575212"/>
          <a:ext cx="2564162" cy="167023"/>
        </a:xfrm>
        <a:custGeom>
          <a:avLst/>
          <a:gdLst/>
          <a:ahLst/>
          <a:cxnLst/>
          <a:rect l="0" t="0" r="0" b="0"/>
          <a:pathLst>
            <a:path>
              <a:moveTo>
                <a:pt x="2564162" y="0"/>
              </a:moveTo>
              <a:lnTo>
                <a:pt x="2564162" y="83511"/>
              </a:lnTo>
              <a:lnTo>
                <a:pt x="0" y="83511"/>
              </a:lnTo>
              <a:lnTo>
                <a:pt x="0" y="167023"/>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7687FB-E5CF-464B-8EFE-D19BA45B711D}">
      <dsp:nvSpPr>
        <dsp:cNvPr id="0" name=""/>
        <dsp:cNvSpPr/>
      </dsp:nvSpPr>
      <dsp:spPr>
        <a:xfrm>
          <a:off x="4003308" y="177538"/>
          <a:ext cx="1819549" cy="397674"/>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OU (Steven Smith)</a:t>
          </a:r>
          <a:endParaRPr lang="en-US" sz="1800" b="1" kern="1200" dirty="0"/>
        </a:p>
      </dsp:txBody>
      <dsp:txXfrm>
        <a:off x="4003308" y="177538"/>
        <a:ext cx="1819549" cy="397674"/>
      </dsp:txXfrm>
    </dsp:sp>
    <dsp:sp modelId="{6083EB23-586D-4B21-9D78-908F1FD2C7E5}">
      <dsp:nvSpPr>
        <dsp:cNvPr id="0" name=""/>
        <dsp:cNvSpPr/>
      </dsp:nvSpPr>
      <dsp:spPr>
        <a:xfrm>
          <a:off x="1384063" y="742235"/>
          <a:ext cx="1929713" cy="608819"/>
        </a:xfrm>
        <a:prstGeom prst="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NGL Lab (Sarah Otley)</a:t>
          </a:r>
          <a:endParaRPr lang="en-US" sz="1800" b="1" kern="1200" dirty="0"/>
        </a:p>
      </dsp:txBody>
      <dsp:txXfrm>
        <a:off x="1384063" y="742235"/>
        <a:ext cx="1929713" cy="608819"/>
      </dsp:txXfrm>
    </dsp:sp>
    <dsp:sp modelId="{9E1A0757-55D8-4683-8B48-8011E62C633F}">
      <dsp:nvSpPr>
        <dsp:cNvPr id="0" name=""/>
        <dsp:cNvSpPr/>
      </dsp:nvSpPr>
      <dsp:spPr>
        <a:xfrm>
          <a:off x="5860" y="1518077"/>
          <a:ext cx="1363727" cy="674292"/>
        </a:xfrm>
        <a:prstGeom prst="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b="1" kern="1200" dirty="0" smtClean="0"/>
            <a:t>Design &amp; Innovation</a:t>
          </a:r>
          <a:endParaRPr lang="en-US" sz="1700" b="1" kern="1200" dirty="0"/>
        </a:p>
      </dsp:txBody>
      <dsp:txXfrm>
        <a:off x="5860" y="1518077"/>
        <a:ext cx="1363727" cy="674292"/>
      </dsp:txXfrm>
    </dsp:sp>
    <dsp:sp modelId="{DAC8FC56-988B-4E94-9CAB-26D4D75D8E87}">
      <dsp:nvSpPr>
        <dsp:cNvPr id="0" name=""/>
        <dsp:cNvSpPr/>
      </dsp:nvSpPr>
      <dsp:spPr>
        <a:xfrm>
          <a:off x="346792" y="2359393"/>
          <a:ext cx="3466182" cy="397674"/>
        </a:xfrm>
        <a:prstGeom prst="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977900">
            <a:lnSpc>
              <a:spcPct val="90000"/>
            </a:lnSpc>
            <a:spcBef>
              <a:spcPct val="0"/>
            </a:spcBef>
            <a:spcAft>
              <a:spcPct val="35000"/>
            </a:spcAft>
          </a:pPr>
          <a:r>
            <a:rPr lang="en-US" sz="2200" kern="1200" dirty="0" smtClean="0"/>
            <a:t>Instructional Designers</a:t>
          </a:r>
          <a:endParaRPr lang="en-US" sz="2200" kern="1200" dirty="0"/>
        </a:p>
      </dsp:txBody>
      <dsp:txXfrm>
        <a:off x="346792" y="2359393"/>
        <a:ext cx="3466182" cy="397674"/>
      </dsp:txXfrm>
    </dsp:sp>
    <dsp:sp modelId="{2C9B5C99-CDD9-4C79-829C-37A88F1BF669}">
      <dsp:nvSpPr>
        <dsp:cNvPr id="0" name=""/>
        <dsp:cNvSpPr/>
      </dsp:nvSpPr>
      <dsp:spPr>
        <a:xfrm>
          <a:off x="346792" y="2924090"/>
          <a:ext cx="3414365" cy="397674"/>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977900">
            <a:lnSpc>
              <a:spcPct val="90000"/>
            </a:lnSpc>
            <a:spcBef>
              <a:spcPct val="0"/>
            </a:spcBef>
            <a:spcAft>
              <a:spcPct val="35000"/>
            </a:spcAft>
          </a:pPr>
          <a:r>
            <a:rPr lang="en-US" sz="2200" kern="1200" dirty="0" smtClean="0"/>
            <a:t>Rich Media Designers</a:t>
          </a:r>
        </a:p>
      </dsp:txBody>
      <dsp:txXfrm>
        <a:off x="346792" y="2924090"/>
        <a:ext cx="3414365" cy="397674"/>
      </dsp:txXfrm>
    </dsp:sp>
    <dsp:sp modelId="{4062CCFE-CFE6-46C5-9167-B1BF9FF1B6F0}">
      <dsp:nvSpPr>
        <dsp:cNvPr id="0" name=""/>
        <dsp:cNvSpPr/>
      </dsp:nvSpPr>
      <dsp:spPr>
        <a:xfrm>
          <a:off x="346792" y="3488787"/>
          <a:ext cx="3396971" cy="397674"/>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977900">
            <a:lnSpc>
              <a:spcPct val="90000"/>
            </a:lnSpc>
            <a:spcBef>
              <a:spcPct val="0"/>
            </a:spcBef>
            <a:spcAft>
              <a:spcPct val="35000"/>
            </a:spcAft>
          </a:pPr>
          <a:r>
            <a:rPr lang="en-US" sz="2200" kern="1200" dirty="0" smtClean="0"/>
            <a:t>Content integrators</a:t>
          </a:r>
          <a:endParaRPr lang="en-US" sz="2200" kern="1200" dirty="0"/>
        </a:p>
      </dsp:txBody>
      <dsp:txXfrm>
        <a:off x="346792" y="3488787"/>
        <a:ext cx="3396971" cy="397674"/>
      </dsp:txXfrm>
    </dsp:sp>
    <dsp:sp modelId="{996FBA4F-31BA-43A4-A87F-DED5716232E6}">
      <dsp:nvSpPr>
        <dsp:cNvPr id="0" name=""/>
        <dsp:cNvSpPr/>
      </dsp:nvSpPr>
      <dsp:spPr>
        <a:xfrm>
          <a:off x="1536611" y="1518077"/>
          <a:ext cx="1385766" cy="70525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t>Project Managers</a:t>
          </a:r>
          <a:endParaRPr lang="en-US" sz="1700" kern="1200" dirty="0"/>
        </a:p>
      </dsp:txBody>
      <dsp:txXfrm>
        <a:off x="1536611" y="1518077"/>
        <a:ext cx="1385766" cy="705251"/>
      </dsp:txXfrm>
    </dsp:sp>
    <dsp:sp modelId="{8AD0E512-0F34-40F8-B109-F189D6B2F4D7}">
      <dsp:nvSpPr>
        <dsp:cNvPr id="0" name=""/>
        <dsp:cNvSpPr/>
      </dsp:nvSpPr>
      <dsp:spPr>
        <a:xfrm>
          <a:off x="3089401" y="1518077"/>
          <a:ext cx="1602578" cy="62336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Faculty</a:t>
          </a:r>
          <a:endParaRPr lang="en-US" sz="1800" kern="1200" dirty="0"/>
        </a:p>
      </dsp:txBody>
      <dsp:txXfrm>
        <a:off x="3089401" y="1518077"/>
        <a:ext cx="1602578" cy="623365"/>
      </dsp:txXfrm>
    </dsp:sp>
    <dsp:sp modelId="{6C6656A4-EDA5-4ABA-9F2D-7D70A1A431D2}">
      <dsp:nvSpPr>
        <dsp:cNvPr id="0" name=""/>
        <dsp:cNvSpPr/>
      </dsp:nvSpPr>
      <dsp:spPr>
        <a:xfrm>
          <a:off x="3480800" y="742235"/>
          <a:ext cx="1067349" cy="67404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B2L (Sarah Otley)</a:t>
          </a:r>
          <a:endParaRPr lang="en-US" sz="1800" b="1" kern="1200" dirty="0"/>
        </a:p>
      </dsp:txBody>
      <dsp:txXfrm>
        <a:off x="3480800" y="742235"/>
        <a:ext cx="1067349" cy="674049"/>
      </dsp:txXfrm>
    </dsp:sp>
    <dsp:sp modelId="{095BDCB2-A7EB-4EBD-A909-30A2FA4A87F9}">
      <dsp:nvSpPr>
        <dsp:cNvPr id="0" name=""/>
        <dsp:cNvSpPr/>
      </dsp:nvSpPr>
      <dsp:spPr>
        <a:xfrm>
          <a:off x="4859003" y="742235"/>
          <a:ext cx="1162600" cy="831464"/>
        </a:xfrm>
        <a:prstGeom prst="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Curriculum (Regis Chasse)</a:t>
          </a:r>
        </a:p>
      </dsp:txBody>
      <dsp:txXfrm>
        <a:off x="4859003" y="742235"/>
        <a:ext cx="1162600" cy="831464"/>
      </dsp:txXfrm>
    </dsp:sp>
    <dsp:sp modelId="{89196FAE-833C-4B20-91C6-01A1E2A14E19}">
      <dsp:nvSpPr>
        <dsp:cNvPr id="0" name=""/>
        <dsp:cNvSpPr/>
      </dsp:nvSpPr>
      <dsp:spPr>
        <a:xfrm>
          <a:off x="6188626" y="742235"/>
          <a:ext cx="1291104" cy="7761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Operations (Uma Sankar)</a:t>
          </a:r>
          <a:endParaRPr lang="en-US" sz="1800" b="1" kern="1200" dirty="0"/>
        </a:p>
      </dsp:txBody>
      <dsp:txXfrm>
        <a:off x="6188626" y="742235"/>
        <a:ext cx="1291104" cy="776116"/>
      </dsp:txXfrm>
    </dsp:sp>
    <dsp:sp modelId="{4963D32F-8B54-4091-8CBC-6FE67471E84E}">
      <dsp:nvSpPr>
        <dsp:cNvPr id="0" name=""/>
        <dsp:cNvSpPr/>
      </dsp:nvSpPr>
      <dsp:spPr>
        <a:xfrm>
          <a:off x="7646754" y="742235"/>
          <a:ext cx="795348" cy="725083"/>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Support</a:t>
          </a:r>
          <a:endParaRPr lang="en-US" sz="1800" b="1" kern="1200" dirty="0"/>
        </a:p>
      </dsp:txBody>
      <dsp:txXfrm>
        <a:off x="7646754" y="742235"/>
        <a:ext cx="795348" cy="72508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3/19/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3/19/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26.xml"/><Relationship Id="rId7"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35.xml"/><Relationship Id="rId7" Type="http://schemas.openxmlformats.org/officeDocument/2006/relationships/image" Target="../media/image4.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jpeg"/><Relationship Id="rId5" Type="http://schemas.openxmlformats.org/officeDocument/2006/relationships/slideMaster" Target="../slideMasters/slideMaster4.xml"/><Relationship Id="rId4" Type="http://schemas.openxmlformats.org/officeDocument/2006/relationships/tags" Target="../tags/tag36.xml"/><Relationship Id="rId9" Type="http://schemas.openxmlformats.org/officeDocument/2006/relationships/image" Target="../media/image6.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5" name="Image 54" descr="shutterstock_46799365.jpg"/>
          <p:cNvPicPr>
            <a:picLocks noChangeAspect="1"/>
          </p:cNvPicPr>
          <p:nvPr userDrawn="1"/>
        </p:nvPicPr>
        <p:blipFill>
          <a:blip r:embed="rId6" cstate="print"/>
          <a:srcRect l="14818" b="16724"/>
          <a:stretch>
            <a:fillRect/>
          </a:stretch>
        </p:blipFill>
        <p:spPr>
          <a:xfrm>
            <a:off x="0" y="1029557"/>
            <a:ext cx="9144000" cy="5656993"/>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2" name="Title 1"/>
          <p:cNvSpPr>
            <a:spLocks noGrp="1"/>
          </p:cNvSpPr>
          <p:nvPr>
            <p:ph type="ctrTitle" hasCustomPrompt="1"/>
          </p:nvPr>
        </p:nvSpPr>
        <p:spPr>
          <a:xfrm>
            <a:off x="541020" y="44654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5341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0"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print"/>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print"/>
          <a:srcRect l="10027" t="21415" r="9454" b="21009"/>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6866"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890"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8914"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9938"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96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178" name="think-cell Slide" r:id="rId5"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15362"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screen"/>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25,000 </a:t>
            </a:r>
            <a:r>
              <a:rPr lang="en-US" sz="800" dirty="0">
                <a:solidFill>
                  <a:schemeClr val="bg1"/>
                </a:solidFill>
                <a:latin typeface="Arial" pitchFamily="34" charset="0"/>
                <a:cs typeface="Arial" pitchFamily="34" charset="0"/>
              </a:rPr>
              <a:t>people in </a:t>
            </a:r>
            <a:r>
              <a:rPr lang="en-US" sz="800" dirty="0" smtClean="0">
                <a:solidFill>
                  <a:schemeClr val="bg1"/>
                </a:solidFill>
                <a:latin typeface="Arial" pitchFamily="34" charset="0"/>
                <a:cs typeface="Arial" pitchFamily="34" charset="0"/>
              </a:rPr>
              <a:t>44 </a:t>
            </a:r>
            <a:r>
              <a:rPr lang="en-US" sz="800" dirty="0">
                <a:solidFill>
                  <a:schemeClr val="bg1"/>
                </a:solidFill>
                <a:latin typeface="Arial" pitchFamily="34" charset="0"/>
                <a:cs typeface="Arial" pitchFamily="34" charset="0"/>
              </a:rPr>
              <a:t>countries, Capgemini is on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 </a:t>
            </a:r>
            <a:r>
              <a:rPr lang="en-US" sz="800" dirty="0">
                <a:solidFill>
                  <a:schemeClr val="bg1"/>
                </a:solidFill>
                <a:latin typeface="Arial" pitchFamily="34" charset="0"/>
                <a:cs typeface="Arial" pitchFamily="34" charset="0"/>
              </a:rPr>
              <a:t>the world's foremost providers of consulting, technology and outsourcing services. The Group reported </a:t>
            </a:r>
            <a:r>
              <a:rPr lang="en-US" sz="800" dirty="0" smtClean="0">
                <a:solidFill>
                  <a:schemeClr val="bg1"/>
                </a:solidFill>
                <a:latin typeface="Arial" pitchFamily="34" charset="0"/>
                <a:cs typeface="Arial" pitchFamily="34" charset="0"/>
              </a:rPr>
              <a:t>2012 </a:t>
            </a:r>
            <a:r>
              <a:rPr lang="en-US" sz="800" dirty="0">
                <a:solidFill>
                  <a:schemeClr val="bg1"/>
                </a:solidFill>
                <a:latin typeface="Arial" pitchFamily="34" charset="0"/>
                <a:cs typeface="Arial" pitchFamily="34" charset="0"/>
              </a:rPr>
              <a:t>global revenue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a:t>
            </a:r>
            <a:r>
              <a:rPr lang="en-US" sz="800" baseline="0" dirty="0" smtClean="0">
                <a:solidFill>
                  <a:schemeClr val="bg1"/>
                </a:solidFill>
                <a:latin typeface="Arial" pitchFamily="34" charset="0"/>
                <a:cs typeface="Arial" pitchFamily="34" charset="0"/>
              </a:rPr>
              <a:t> </a:t>
            </a:r>
            <a:r>
              <a:rPr lang="en-US" sz="800" dirty="0" smtClean="0">
                <a:solidFill>
                  <a:schemeClr val="bg1"/>
                </a:solidFill>
                <a:latin typeface="Arial" pitchFamily="34" charset="0"/>
                <a:cs typeface="Arial" pitchFamily="34" charset="0"/>
              </a:rPr>
              <a:t>EUR 10.3 billion.</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a:solidFill>
                  <a:schemeClr val="bg1"/>
                </a:solidFill>
                <a:latin typeface="Arial" pitchFamily="34" charset="0"/>
                <a:cs typeface="Arial" pitchFamily="34" charset="0"/>
              </a:rPr>
              <a:t>Together with its clients, Capgemini creates and deliver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business </a:t>
            </a:r>
            <a:r>
              <a:rPr lang="en-US" sz="800" dirty="0">
                <a:solidFill>
                  <a:schemeClr val="bg1"/>
                </a:solidFill>
                <a:latin typeface="Arial" pitchFamily="34" charset="0"/>
                <a:cs typeface="Arial" pitchFamily="34" charset="0"/>
              </a:rPr>
              <a:t>and technology solutions that fit their needs and driv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the </a:t>
            </a:r>
            <a:r>
              <a:rPr lang="en-US" sz="800" dirty="0">
                <a:solidFill>
                  <a:schemeClr val="bg1"/>
                </a:solidFill>
                <a:latin typeface="Arial" pitchFamily="34" charset="0"/>
                <a:cs typeface="Arial" pitchFamily="34" charset="0"/>
              </a:rPr>
              <a:t>results they want. A deeply multicultural organization,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apgemini </a:t>
            </a:r>
            <a:r>
              <a:rPr lang="en-US" sz="800" dirty="0">
                <a:solidFill>
                  <a:schemeClr val="bg1"/>
                </a:solidFill>
                <a:latin typeface="Arial" pitchFamily="34" charset="0"/>
                <a:cs typeface="Arial" pitchFamily="34" charset="0"/>
              </a:rPr>
              <a:t>has developed its own way of working, th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ollaborative </a:t>
            </a:r>
            <a:r>
              <a:rPr lang="en-US" sz="800" dirty="0">
                <a:solidFill>
                  <a:schemeClr val="bg1"/>
                </a:solidFill>
                <a:latin typeface="Arial" pitchFamily="34" charset="0"/>
                <a:cs typeface="Arial" pitchFamily="34" charset="0"/>
              </a:rPr>
              <a:t>Business </a:t>
            </a:r>
            <a:r>
              <a:rPr lang="en-US" sz="800" dirty="0" err="1">
                <a:solidFill>
                  <a:schemeClr val="bg1"/>
                </a:solidFill>
                <a:latin typeface="Arial" pitchFamily="34" charset="0"/>
                <a:cs typeface="Arial" pitchFamily="34" charset="0"/>
              </a:rPr>
              <a:t>Experience</a:t>
            </a:r>
            <a:r>
              <a:rPr lang="en-US" sz="800" baseline="30000" dirty="0" err="1">
                <a:solidFill>
                  <a:schemeClr val="bg1"/>
                </a:solidFill>
                <a:latin typeface="Arial" pitchFamily="34" charset="0"/>
                <a:cs typeface="Arial" pitchFamily="34" charset="0"/>
              </a:rPr>
              <a:t>TM</a:t>
            </a:r>
            <a:r>
              <a:rPr lang="en-US" sz="800" dirty="0">
                <a:solidFill>
                  <a:schemeClr val="bg1"/>
                </a:solidFill>
                <a:latin typeface="Arial" pitchFamily="34" charset="0"/>
                <a:cs typeface="Arial" pitchFamily="34" charset="0"/>
              </a:rPr>
              <a:t>, and draws on </a:t>
            </a:r>
            <a:r>
              <a:rPr lang="en-US" sz="800" dirty="0" err="1" smtClean="0">
                <a:solidFill>
                  <a:schemeClr val="bg1"/>
                </a:solidFill>
                <a:latin typeface="Arial" pitchFamily="34" charset="0"/>
                <a:cs typeface="Arial" pitchFamily="34" charset="0"/>
              </a:rPr>
              <a:t>Rightshore</a:t>
            </a:r>
            <a:r>
              <a:rPr lang="en-US" sz="800" b="1"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s </a:t>
            </a:r>
            <a:r>
              <a:rPr lang="en-US" sz="800" dirty="0">
                <a:solidFill>
                  <a:schemeClr val="bg1"/>
                </a:solidFill>
                <a:latin typeface="Arial" pitchFamily="34" charset="0"/>
                <a:cs typeface="Arial" pitchFamily="34" charset="0"/>
              </a:rPr>
              <a:t>worldwide delivery model</a:t>
            </a:r>
            <a:r>
              <a:rPr lang="en-US" sz="800" dirty="0" smtClean="0">
                <a:solidFill>
                  <a:schemeClr val="bg1"/>
                </a:solidFill>
                <a:latin typeface="Arial" pitchFamily="34" charset="0"/>
                <a:cs typeface="Arial" pitchFamily="34" charset="0"/>
              </a:rPr>
              <a:t>.</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0" y="3265701"/>
            <a:ext cx="3987801" cy="2031325"/>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irst established in 1987, Capgemini University offers innovative learning solutions to all its employees worldwide through its international Center of Excellence (Les Fontaines, near Paris, France), as well as through virtual and local classroom and a wealth of othe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e-learning programs.</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plays a key role in developing team skills and capabilities in line with the company’s strategy, priorities and client expectations in creating and delivering learning journeys for sustainable results on individual, community and group level.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 provides learning from both in-house and from external providers through innovative learning programs based on our next generation learning principles and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ur collaborative approach.</a:t>
            </a: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was accredited by the European Foundation for Management Development (EFMD) in 2008 and in 2012 the University delivered more than 2 million learning hours to 101,238 employees across the Group</a:t>
            </a:r>
            <a:endParaRPr lang="en-US" sz="800" dirty="0">
              <a:solidFill>
                <a:schemeClr val="bg1"/>
              </a:solidFill>
              <a:latin typeface="Arial" pitchFamily="34" charset="0"/>
              <a:cs typeface="Arial" pitchFamily="34" charset="0"/>
            </a:endParaRPr>
          </a:p>
        </p:txBody>
      </p:sp>
      <p:sp>
        <p:nvSpPr>
          <p:cNvPr id="7" name="Rectangle 6"/>
          <p:cNvSpPr/>
          <p:nvPr userDrawn="1">
            <p:custDataLst>
              <p:tags r:id="rId5"/>
            </p:custDataLst>
          </p:nvPr>
        </p:nvSpPr>
        <p:spPr>
          <a:xfrm>
            <a:off x="4780722" y="5549489"/>
            <a:ext cx="4074353" cy="303536"/>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talent.capgemini.com/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6"/>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 </a:t>
            </a: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410" name="think-cell Slide" r:id="rId4" imgW="360" imgH="360" progId="">
              <p:embed/>
            </p:oleObj>
          </a:graphicData>
        </a:graphic>
      </p:graphicFrame>
      <p:sp>
        <p:nvSpPr>
          <p:cNvPr id="3" name="Rectangle 2"/>
          <p:cNvSpPr/>
          <p:nvPr userDrawn="1">
            <p:custDataLst>
              <p:tags r:id="rId2"/>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5" name="Image 54" descr="shutterstock_46799365.jpg"/>
          <p:cNvPicPr>
            <a:picLocks noChangeAspect="1"/>
          </p:cNvPicPr>
          <p:nvPr userDrawn="1"/>
        </p:nvPicPr>
        <p:blipFill>
          <a:blip r:embed="rId6" cstate="print"/>
          <a:srcRect l="14818" b="16724"/>
          <a:stretch>
            <a:fillRect/>
          </a:stretch>
        </p:blipFill>
        <p:spPr>
          <a:xfrm>
            <a:off x="0" y="1029557"/>
            <a:ext cx="9144000" cy="5656993"/>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srgbClr val="FFFFFE"/>
              </a:solidFill>
            </a:endParaRPr>
          </a:p>
        </p:txBody>
      </p:sp>
      <p:sp>
        <p:nvSpPr>
          <p:cNvPr id="2" name="Title 1"/>
          <p:cNvSpPr>
            <a:spLocks noGrp="1"/>
          </p:cNvSpPr>
          <p:nvPr>
            <p:ph type="ctrTitle" hasCustomPrompt="1"/>
          </p:nvPr>
        </p:nvSpPr>
        <p:spPr>
          <a:xfrm>
            <a:off x="541020" y="44654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5341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rgbClr val="FFFFFE"/>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srgbClr val="FFFFFE"/>
              </a:solidFill>
            </a:endParaRPr>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print"/>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print"/>
          <a:srcRect l="10027" t="21415" r="9454" b="21009"/>
          <a:stretch>
            <a:fillRect/>
          </a:stretch>
        </p:blipFill>
        <p:spPr bwMode="auto">
          <a:xfrm>
            <a:off x="6356494" y="688081"/>
            <a:ext cx="2520000" cy="600646"/>
          </a:xfrm>
          <a:prstGeom prst="rect">
            <a:avLst/>
          </a:prstGeom>
          <a:noFill/>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rgbClr val="505150"/>
              </a:solidFill>
            </a:endParaRPr>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grpSp>
        <p:nvGrpSpPr>
          <p:cNvPr id="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150"/>
                </a:solidFill>
              </a:endParaRPr>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2226"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rgbClr val="FFFFFE"/>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120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2.xml"/><Relationship Id="rId7" Type="http://schemas.openxmlformats.org/officeDocument/2006/relationships/theme" Target="../theme/theme2.xml"/><Relationship Id="rId12" Type="http://schemas.openxmlformats.org/officeDocument/2006/relationships/image" Target="../media/image2.jpe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jpeg"/><Relationship Id="rId5" Type="http://schemas.openxmlformats.org/officeDocument/2006/relationships/slideLayout" Target="../slideLayouts/slideLayout14.xml"/><Relationship Id="rId10" Type="http://schemas.openxmlformats.org/officeDocument/2006/relationships/oleObject" Target="../embeddings/oleObject2.bin"/><Relationship Id="rId4" Type="http://schemas.openxmlformats.org/officeDocument/2006/relationships/slideLayout" Target="../slideLayouts/slideLayout13.xml"/><Relationship Id="rId9"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heme" Target="../theme/theme3.xml"/><Relationship Id="rId7" Type="http://schemas.openxmlformats.org/officeDocument/2006/relationships/tags" Target="../tags/tag2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23.xml"/><Relationship Id="rId11" Type="http://schemas.openxmlformats.org/officeDocument/2006/relationships/image" Target="../media/image4.emf"/><Relationship Id="rId5" Type="http://schemas.openxmlformats.org/officeDocument/2006/relationships/tags" Target="../tags/tag22.xml"/><Relationship Id="rId10" Type="http://schemas.openxmlformats.org/officeDocument/2006/relationships/image" Target="../media/image6.jpeg"/><Relationship Id="rId4" Type="http://schemas.openxmlformats.org/officeDocument/2006/relationships/vmlDrawing" Target="../drawings/vmlDrawing9.v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1.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ags" Target="../tags/tag3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31.xml"/><Relationship Id="rId5" Type="http://schemas.openxmlformats.org/officeDocument/2006/relationships/slideLayout" Target="../slideLayouts/slideLayout22.xml"/><Relationship Id="rId10" Type="http://schemas.openxmlformats.org/officeDocument/2006/relationships/theme" Target="../theme/theme4.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userDrawn="1">
            <p:custDataLst>
              <p:tags r:id="rId11"/>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3" cstate="print"/>
          <a:srcRect l="10027" t="21415" r="9454" b="21009"/>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4" cstate="print"/>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userDrawn="1">
            <p:custDataLst>
              <p:tags r:id="rId12"/>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 id="2147484100" r:id="rId9"/>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818" name="think-cell Slide" r:id="rId10" imgW="360" imgH="360" progId="">
              <p:embed/>
            </p:oleObj>
          </a:graphicData>
        </a:graphic>
      </p:graphicFrame>
      <p:sp>
        <p:nvSpPr>
          <p:cNvPr id="4" name="TextBox 3"/>
          <p:cNvSpPr txBox="1"/>
          <p:nvPr userDrawn="1">
            <p:custDataLst>
              <p:tags r:id="rId9"/>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1" cstate="print"/>
          <a:srcRect l="10027" t="21415" r="9454" b="21009"/>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userDrawn="1"/>
        </p:nvPicPr>
        <p:blipFill>
          <a:blip r:embed="rId12" cstate="print"/>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338"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userDrawn="1"/>
        </p:nvPicPr>
        <p:blipFill>
          <a:blip r:embed="rId9" cstate="print"/>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userDrawn="1"/>
        </p:nvPicPr>
        <p:blipFill>
          <a:blip r:embed="rId10" cstate="print"/>
          <a:srcRect l="10027" t="21415" r="9454" b="21009"/>
          <a:stretch>
            <a:fillRect/>
          </a:stretch>
        </p:blipFill>
        <p:spPr bwMode="auto">
          <a:xfrm>
            <a:off x="6356494" y="926620"/>
            <a:ext cx="2520000" cy="600646"/>
          </a:xfrm>
          <a:prstGeom prst="rect">
            <a:avLst/>
          </a:prstGeom>
          <a:noFill/>
        </p:spPr>
      </p:pic>
      <p:sp>
        <p:nvSpPr>
          <p:cNvPr id="10" name="Rectangle 9"/>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userDrawn="1">
            <p:custDataLst>
              <p:tags r:id="rId11"/>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14400" fontAlgn="auto">
              <a:spcBef>
                <a:spcPts val="0"/>
              </a:spcBef>
              <a:spcAft>
                <a:spcPts val="0"/>
              </a:spcAft>
              <a:defRPr/>
            </a:pPr>
            <a:endParaRPr lang="fr-FR" kern="0">
              <a:solidFill>
                <a:sysClr val="windowText" lastClr="000000"/>
              </a:solidFill>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3" cstate="print"/>
          <a:srcRect l="10027" t="21415" r="9454" b="21009"/>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4" cstate="print"/>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rgbClr val="505150"/>
                </a:solidFill>
                <a:latin typeface="Arial" pitchFamily="34" charset="0"/>
                <a:cs typeface="Arial" pitchFamily="34" charset="0"/>
              </a:rPr>
              <a:t>The information contained in this document is proprietary and confidential. </a:t>
            </a:r>
            <a:br>
              <a:rPr lang="en-US" sz="700" dirty="0">
                <a:solidFill>
                  <a:srgbClr val="505150"/>
                </a:solidFill>
                <a:latin typeface="Arial" pitchFamily="34" charset="0"/>
                <a:cs typeface="Arial" pitchFamily="34" charset="0"/>
              </a:rPr>
            </a:br>
            <a:r>
              <a:rPr lang="en-US" sz="700" dirty="0">
                <a:solidFill>
                  <a:srgbClr val="505150"/>
                </a:solidFill>
                <a:latin typeface="Arial" pitchFamily="34" charset="0"/>
                <a:cs typeface="Arial" pitchFamily="34" charset="0"/>
              </a:rPr>
              <a:t>It is for Capgemini internal use only. </a:t>
            </a:r>
            <a:r>
              <a:rPr lang="en-US" sz="700" dirty="0" smtClean="0">
                <a:solidFill>
                  <a:srgbClr val="505150"/>
                </a:solidFill>
                <a:latin typeface="Arial" pitchFamily="34" charset="0"/>
                <a:cs typeface="Arial" pitchFamily="34" charset="0"/>
              </a:rPr>
              <a:t>Copyright© 2014 </a:t>
            </a:r>
            <a:r>
              <a:rPr lang="en-US" sz="700" dirty="0">
                <a:solidFill>
                  <a:srgbClr val="505150"/>
                </a:solidFill>
                <a:latin typeface="Arial" pitchFamily="34" charset="0"/>
                <a:cs typeface="Arial" pitchFamily="34" charset="0"/>
              </a:rPr>
              <a:t>Capgemini. All rights reserved.</a:t>
            </a:r>
            <a:endParaRPr lang="en-GB" sz="700" dirty="0">
              <a:solidFill>
                <a:srgbClr val="505150"/>
              </a:solidFill>
              <a:latin typeface="Arial" pitchFamily="34" charset="0"/>
              <a:cs typeface="Arial" pitchFamily="34" charset="0"/>
            </a:endParaRPr>
          </a:p>
        </p:txBody>
      </p:sp>
      <p:sp>
        <p:nvSpPr>
          <p:cNvPr id="20" name="TextBox 19"/>
          <p:cNvSpPr txBox="1"/>
          <p:nvPr userDrawn="1">
            <p:custDataLst>
              <p:tags r:id="rId12"/>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hyperlink" Target="http://talent.capgemini.com/university/" TargetMode="Externa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hyperlink" Target="http://talent.capgemini.com/university/pages/next_generation_learning_ngl_lab/learning_products_and_services/" TargetMode="External"/><Relationship Id="rId7" Type="http://schemas.openxmlformats.org/officeDocument/2006/relationships/hyperlink" Target="http://talent.capgemini.com/university/pages/next_generation_learning_ngl_lab/doityourself_learning/" TargetMode="External"/><Relationship Id="rId2" Type="http://schemas.openxmlformats.org/officeDocument/2006/relationships/hyperlink" Target="http://talent.capgemini.com/university/pages/next_generation_learning_ngl_lab/Next_Generation_Learning_Principles/" TargetMode="External"/><Relationship Id="rId1" Type="http://schemas.openxmlformats.org/officeDocument/2006/relationships/slideLayout" Target="../slideLayouts/slideLayout20.xml"/><Relationship Id="rId6" Type="http://schemas.openxmlformats.org/officeDocument/2006/relationships/hyperlink" Target="http://talent.capgemini.com/university/pages/next_generation_learning_ngl_lab/innovation_reports/" TargetMode="External"/><Relationship Id="rId5" Type="http://schemas.openxmlformats.org/officeDocument/2006/relationships/hyperlink" Target="file:///\\In-pnq-lnd02\el_resources$\07_UniversityDocuments\5_NGL%20Lab%20DOCUMENTS\Business%20Cases" TargetMode="External"/><Relationship Id="rId4" Type="http://schemas.openxmlformats.org/officeDocument/2006/relationships/hyperlink" Target="file:///\\In-pnq-lnd02\el_resources$\07_UniversityDocuments\5_NGL%20Lab%20DOCUMENTS\POVs"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capgemini.sumtotalsystems.com/sumtotal/app/management/LMS_ActDetails.aspx?UserMode=0&amp;ActivityId=134531" TargetMode="External"/><Relationship Id="rId2" Type="http://schemas.openxmlformats.org/officeDocument/2006/relationships/hyperlink" Target="http://engage.vevent.com/rt/virtualu~softwareengineer" TargetMode="External"/><Relationship Id="rId1" Type="http://schemas.openxmlformats.org/officeDocument/2006/relationships/slideLayout" Target="../slideLayouts/slideLayout20.xml"/><Relationship Id="rId5" Type="http://schemas.openxmlformats.org/officeDocument/2006/relationships/hyperlink" Target="https://capgemini.sumtotalsystems.com/sumtotal/app/management/LMS_ActDetails.aspx?UserMode=0&amp;ActivityId=123591" TargetMode="External"/><Relationship Id="rId4" Type="http://schemas.openxmlformats.org/officeDocument/2006/relationships/hyperlink" Target="https://capgemini.sumtotalsystems.com/sumtotal/app/management/LMS_ActDetails.aspx?UserMode=0&amp;ActivityId=27440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smtClean="0"/>
              <a:t>Onboarding Pack for New Joiners </a:t>
            </a:r>
            <a:br>
              <a:rPr lang="en-GB" dirty="0" smtClean="0"/>
            </a:br>
            <a:r>
              <a:rPr lang="en-GB" dirty="0" smtClean="0"/>
              <a:t>University &gt; NGL Lab &gt; D&amp;I team</a:t>
            </a:r>
            <a:br>
              <a:rPr lang="en-GB" dirty="0" smtClean="0"/>
            </a:br>
            <a:endParaRPr lang="en-GB" dirty="0"/>
          </a:p>
        </p:txBody>
      </p:sp>
      <p:sp>
        <p:nvSpPr>
          <p:cNvPr id="9" name="Subtitle 8"/>
          <p:cNvSpPr>
            <a:spLocks noGrp="1"/>
          </p:cNvSpPr>
          <p:nvPr>
            <p:ph type="subTitle" idx="1"/>
          </p:nvPr>
        </p:nvSpPr>
        <p:spPr/>
        <p:txBody>
          <a:bodyPr/>
          <a:lstStyle/>
          <a:p>
            <a:endParaRPr lang="en-GB"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Organisational  Aspects</a:t>
            </a:r>
            <a:endParaRPr lang="en-GB"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ery employee belongs to a Practice and is loaned to an account</a:t>
            </a:r>
            <a:endParaRPr lang="en-GB" dirty="0"/>
          </a:p>
        </p:txBody>
      </p:sp>
      <p:graphicFrame>
        <p:nvGraphicFramePr>
          <p:cNvPr id="7" name="Diagram 6"/>
          <p:cNvGraphicFramePr/>
          <p:nvPr/>
        </p:nvGraphicFramePr>
        <p:xfrm>
          <a:off x="313898" y="1246867"/>
          <a:ext cx="8447963"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a:xfrm>
            <a:off x="477672" y="5773003"/>
            <a:ext cx="8297838" cy="47767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i="1" dirty="0" smtClean="0"/>
              <a:t>Practice View: Where we sit</a:t>
            </a:r>
            <a:endParaRPr lang="en-US" sz="2400" b="1" i="1"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ery employee belongs to a Practice and is loaned to an account</a:t>
            </a:r>
            <a:endParaRPr lang="en-GB" dirty="0"/>
          </a:p>
        </p:txBody>
      </p:sp>
      <p:graphicFrame>
        <p:nvGraphicFramePr>
          <p:cNvPr id="7" name="Diagram 6"/>
          <p:cNvGraphicFramePr/>
          <p:nvPr/>
        </p:nvGraphicFramePr>
        <p:xfrm>
          <a:off x="1228298" y="1392072"/>
          <a:ext cx="7206016" cy="31954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p:cNvSpPr/>
          <p:nvPr/>
        </p:nvSpPr>
        <p:spPr>
          <a:xfrm>
            <a:off x="477672" y="5773003"/>
            <a:ext cx="8297838" cy="47767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i="1" dirty="0" smtClean="0"/>
              <a:t>Practice View: Where we sit</a:t>
            </a:r>
            <a:endParaRPr lang="en-US" sz="2400" b="1"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ccount is Our University (OU) – A Group Function</a:t>
            </a:r>
            <a:endParaRPr lang="en-GB" dirty="0"/>
          </a:p>
        </p:txBody>
      </p:sp>
      <p:graphicFrame>
        <p:nvGraphicFramePr>
          <p:cNvPr id="6" name="Diagram 5"/>
          <p:cNvGraphicFramePr/>
          <p:nvPr/>
        </p:nvGraphicFramePr>
        <p:xfrm>
          <a:off x="313898" y="1246867"/>
          <a:ext cx="8447963"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a:xfrm>
            <a:off x="477672" y="5677472"/>
            <a:ext cx="8297838" cy="73697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i="1" dirty="0" smtClean="0">
                <a:solidFill>
                  <a:srgbClr val="FFFFFE"/>
                </a:solidFill>
              </a:rPr>
              <a:t>Learn more about the University from our Intranet site: </a:t>
            </a:r>
            <a:r>
              <a:rPr lang="en-US" sz="2400" b="1" i="1" dirty="0" smtClean="0">
                <a:solidFill>
                  <a:srgbClr val="FFFFFE"/>
                </a:solidFill>
                <a:hlinkClick r:id="rId7"/>
              </a:rPr>
              <a:t>http://talent.capgemini.com/university</a:t>
            </a:r>
            <a:r>
              <a:rPr lang="en-US" sz="2400" b="1" i="1" dirty="0" smtClean="0">
                <a:solidFill>
                  <a:srgbClr val="FFFFFE"/>
                </a:solidFill>
                <a:hlinkClick r:id="rId7"/>
              </a:rPr>
              <a:t>/#  </a:t>
            </a:r>
            <a:endParaRPr lang="en-US" sz="2400" b="1" i="1" dirty="0">
              <a:solidFill>
                <a:srgbClr val="FFFFFE"/>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What we do at the University</a:t>
            </a:r>
            <a:endParaRPr lang="en-GB"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134938"/>
            <a:ext cx="8951912" cy="715962"/>
          </a:xfrm>
        </p:spPr>
        <p:txBody>
          <a:bodyPr/>
          <a:lstStyle/>
          <a:p>
            <a:r>
              <a:rPr lang="en-US" dirty="0" smtClean="0"/>
              <a:t>Our University creates GLOBAL CURRICULUM content for all 150,000 employees of the Group</a:t>
            </a:r>
            <a:endParaRPr lang="en-GB" dirty="0"/>
          </a:p>
        </p:txBody>
      </p:sp>
      <p:sp>
        <p:nvSpPr>
          <p:cNvPr id="5" name="Rectangle 4"/>
          <p:cNvSpPr/>
          <p:nvPr/>
        </p:nvSpPr>
        <p:spPr>
          <a:xfrm>
            <a:off x="477671" y="5581936"/>
            <a:ext cx="8488907" cy="736979"/>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i="1" dirty="0" smtClean="0">
                <a:solidFill>
                  <a:srgbClr val="FFFFFE"/>
                </a:solidFill>
              </a:rPr>
              <a:t>Global Curriculum: </a:t>
            </a:r>
            <a:r>
              <a:rPr lang="en-US" i="1" dirty="0" smtClean="0">
                <a:solidFill>
                  <a:srgbClr val="FFFFFE"/>
                </a:solidFill>
              </a:rPr>
              <a:t>Can be used by anyone in the Group </a:t>
            </a:r>
            <a:r>
              <a:rPr lang="en-US" i="1" dirty="0" smtClean="0">
                <a:solidFill>
                  <a:srgbClr val="FFFFFE"/>
                </a:solidFill>
              </a:rPr>
              <a:t>(handled by </a:t>
            </a:r>
            <a:r>
              <a:rPr lang="en-US" i="1" dirty="0" smtClean="0">
                <a:solidFill>
                  <a:srgbClr val="FFFFFE"/>
                </a:solidFill>
              </a:rPr>
              <a:t>OU)</a:t>
            </a:r>
          </a:p>
          <a:p>
            <a:pPr algn="ctr"/>
            <a:r>
              <a:rPr lang="en-US" b="1" i="1" dirty="0" smtClean="0">
                <a:solidFill>
                  <a:srgbClr val="FFFFFE"/>
                </a:solidFill>
              </a:rPr>
              <a:t>Regional Curriculum: </a:t>
            </a:r>
            <a:r>
              <a:rPr lang="en-US" i="1" dirty="0" smtClean="0">
                <a:solidFill>
                  <a:srgbClr val="FFFFFE"/>
                </a:solidFill>
              </a:rPr>
              <a:t>For specific regions (handled by local L&amp;Ds)</a:t>
            </a:r>
            <a:endParaRPr lang="en-US" i="1" dirty="0">
              <a:solidFill>
                <a:srgbClr val="FFFFFE"/>
              </a:solidFill>
            </a:endParaRPr>
          </a:p>
        </p:txBody>
      </p:sp>
      <p:graphicFrame>
        <p:nvGraphicFramePr>
          <p:cNvPr id="6" name="Table 5"/>
          <p:cNvGraphicFramePr>
            <a:graphicFrameLocks noGrp="1"/>
          </p:cNvGraphicFramePr>
          <p:nvPr/>
        </p:nvGraphicFramePr>
        <p:xfrm>
          <a:off x="363940" y="1164983"/>
          <a:ext cx="3634854" cy="2768600"/>
        </p:xfrm>
        <a:graphic>
          <a:graphicData uri="http://schemas.openxmlformats.org/drawingml/2006/table">
            <a:tbl>
              <a:tblPr firstRow="1" bandRow="1">
                <a:tableStyleId>{F5AB1C69-6EDB-4FF4-983F-18BD219EF322}</a:tableStyleId>
              </a:tblPr>
              <a:tblGrid>
                <a:gridCol w="3634854"/>
              </a:tblGrid>
              <a:tr h="370840">
                <a:tc>
                  <a:txBody>
                    <a:bodyPr/>
                    <a:lstStyle/>
                    <a:p>
                      <a:r>
                        <a:rPr lang="en-US" dirty="0" smtClean="0"/>
                        <a:t>Examples of Global</a:t>
                      </a:r>
                      <a:r>
                        <a:rPr lang="en-US" baseline="0" dirty="0" smtClean="0"/>
                        <a:t> Curricula</a:t>
                      </a:r>
                      <a:endParaRPr lang="en-US" dirty="0"/>
                    </a:p>
                  </a:txBody>
                  <a:tcPr/>
                </a:tc>
              </a:tr>
              <a:tr h="370840">
                <a:tc>
                  <a:txBody>
                    <a:bodyPr/>
                    <a:lstStyle/>
                    <a:p>
                      <a:r>
                        <a:rPr lang="en-US" dirty="0" smtClean="0"/>
                        <a:t>Essentials </a:t>
                      </a:r>
                      <a:endParaRPr lang="en-US" dirty="0"/>
                    </a:p>
                  </a:txBody>
                  <a:tcPr/>
                </a:tc>
              </a:tr>
              <a:tr h="370840">
                <a:tc>
                  <a:txBody>
                    <a:bodyPr/>
                    <a:lstStyle/>
                    <a:p>
                      <a:r>
                        <a:rPr lang="en-US" dirty="0" smtClean="0"/>
                        <a:t>Sectors and Service Lines</a:t>
                      </a:r>
                      <a:endParaRPr lang="en-US" dirty="0"/>
                    </a:p>
                  </a:txBody>
                  <a:tcPr/>
                </a:tc>
              </a:tr>
              <a:tr h="370840">
                <a:tc>
                  <a:txBody>
                    <a:bodyPr/>
                    <a:lstStyle/>
                    <a:p>
                      <a:r>
                        <a:rPr lang="en-US" dirty="0" smtClean="0"/>
                        <a:t>Leadership</a:t>
                      </a:r>
                      <a:endParaRPr lang="en-US" dirty="0"/>
                    </a:p>
                  </a:txBody>
                  <a:tcPr/>
                </a:tc>
              </a:tr>
              <a:tr h="370840">
                <a:tc>
                  <a:txBody>
                    <a:bodyPr/>
                    <a:lstStyle/>
                    <a:p>
                      <a:r>
                        <a:rPr lang="en-US" dirty="0" smtClean="0"/>
                        <a:t>Role-based curriculum (Software Engineers, Management Consultants, Engagement Managers)</a:t>
                      </a:r>
                      <a:endParaRPr lang="en-US" dirty="0"/>
                    </a:p>
                  </a:txBody>
                  <a:tcPr/>
                </a:tc>
              </a:tr>
              <a:tr h="370840">
                <a:tc>
                  <a:txBody>
                    <a:bodyPr/>
                    <a:lstStyle/>
                    <a:p>
                      <a:r>
                        <a:rPr lang="en-US" dirty="0" smtClean="0"/>
                        <a:t>Partners and alliances</a:t>
                      </a:r>
                      <a:endParaRPr lang="en-US" dirty="0"/>
                    </a:p>
                  </a:txBody>
                  <a:tcPr/>
                </a:tc>
              </a:tr>
            </a:tbl>
          </a:graphicData>
        </a:graphic>
      </p:graphicFrame>
      <p:graphicFrame>
        <p:nvGraphicFramePr>
          <p:cNvPr id="9" name="Table 8"/>
          <p:cNvGraphicFramePr>
            <a:graphicFrameLocks noGrp="1"/>
          </p:cNvGraphicFramePr>
          <p:nvPr/>
        </p:nvGraphicFramePr>
        <p:xfrm>
          <a:off x="4594746" y="1137687"/>
          <a:ext cx="3634854" cy="4312920"/>
        </p:xfrm>
        <a:graphic>
          <a:graphicData uri="http://schemas.openxmlformats.org/drawingml/2006/table">
            <a:tbl>
              <a:tblPr firstRow="1" bandRow="1">
                <a:tableStyleId>{F5AB1C69-6EDB-4FF4-983F-18BD219EF322}</a:tableStyleId>
              </a:tblPr>
              <a:tblGrid>
                <a:gridCol w="3634854"/>
              </a:tblGrid>
              <a:tr h="370840">
                <a:tc>
                  <a:txBody>
                    <a:bodyPr/>
                    <a:lstStyle/>
                    <a:p>
                      <a:r>
                        <a:rPr lang="en-US" dirty="0" smtClean="0"/>
                        <a:t>What do we create for these curricula?</a:t>
                      </a:r>
                      <a:endParaRPr lang="en-US" dirty="0"/>
                    </a:p>
                  </a:txBody>
                  <a:tcPr/>
                </a:tc>
              </a:tr>
              <a:tr h="370840">
                <a:tc>
                  <a:txBody>
                    <a:bodyPr/>
                    <a:lstStyle/>
                    <a:p>
                      <a:r>
                        <a:rPr lang="en-US" b="1" dirty="0" smtClean="0"/>
                        <a:t>Virtual Learning</a:t>
                      </a:r>
                    </a:p>
                    <a:p>
                      <a:pPr marL="342900" indent="-342900">
                        <a:buFont typeface="+mj-lt"/>
                        <a:buAutoNum type="arabicPeriod"/>
                      </a:pPr>
                      <a:r>
                        <a:rPr lang="en-US" b="1" dirty="0" smtClean="0"/>
                        <a:t>eLearning modules</a:t>
                      </a:r>
                    </a:p>
                    <a:p>
                      <a:pPr marL="342900" indent="-342900">
                        <a:buFont typeface="+mj-lt"/>
                        <a:buAutoNum type="arabicPeriod"/>
                      </a:pPr>
                      <a:r>
                        <a:rPr lang="en-US" b="1" dirty="0" smtClean="0"/>
                        <a:t>MOOCs</a:t>
                      </a:r>
                    </a:p>
                    <a:p>
                      <a:pPr marL="342900" indent="-342900">
                        <a:buFont typeface="+mj-lt"/>
                        <a:buAutoNum type="arabicPeriod"/>
                      </a:pPr>
                      <a:r>
                        <a:rPr lang="en-US" b="1" dirty="0" smtClean="0"/>
                        <a:t>Virtual Campus</a:t>
                      </a:r>
                    </a:p>
                    <a:p>
                      <a:pPr marL="342900" indent="-342900">
                        <a:buFont typeface="+mj-lt"/>
                        <a:buAutoNum type="arabicPeriod"/>
                      </a:pPr>
                      <a:r>
                        <a:rPr lang="en-US" b="1" dirty="0" smtClean="0"/>
                        <a:t>Virtual</a:t>
                      </a:r>
                      <a:r>
                        <a:rPr lang="en-US" b="1" baseline="0" dirty="0" smtClean="0"/>
                        <a:t> classrooms</a:t>
                      </a:r>
                    </a:p>
                    <a:p>
                      <a:pPr marL="342900" indent="-342900">
                        <a:buFont typeface="+mj-lt"/>
                        <a:buAutoNum type="arabicPeriod"/>
                      </a:pPr>
                      <a:r>
                        <a:rPr lang="en-US" b="1" baseline="0" dirty="0" smtClean="0"/>
                        <a:t>Facilitated Virtual Learning Journeys</a:t>
                      </a:r>
                    </a:p>
                    <a:p>
                      <a:pPr marL="342900" indent="-342900">
                        <a:buFont typeface="+mj-lt"/>
                        <a:buAutoNum type="arabicPeriod"/>
                      </a:pPr>
                      <a:r>
                        <a:rPr lang="en-US" b="1" baseline="0" dirty="0" smtClean="0"/>
                        <a:t>One time virtual events</a:t>
                      </a:r>
                    </a:p>
                    <a:p>
                      <a:pPr marL="342900" indent="-342900">
                        <a:buFont typeface="+mj-lt"/>
                        <a:buAutoNum type="arabicPeriod"/>
                      </a:pPr>
                      <a:r>
                        <a:rPr lang="en-US" b="1" baseline="0" dirty="0" smtClean="0"/>
                        <a:t>Apps and mobile based learning</a:t>
                      </a:r>
                      <a:endParaRPr lang="en-US" b="1" dirty="0"/>
                    </a:p>
                  </a:txBody>
                  <a:tcPr/>
                </a:tc>
              </a:tr>
              <a:tr h="370840">
                <a:tc>
                  <a:txBody>
                    <a:bodyPr/>
                    <a:lstStyle/>
                    <a:p>
                      <a:r>
                        <a:rPr lang="en-US" dirty="0" smtClean="0"/>
                        <a:t>Face to Face/Classroom</a:t>
                      </a:r>
                      <a:r>
                        <a:rPr lang="en-US" baseline="0" dirty="0" smtClean="0"/>
                        <a:t> sessions</a:t>
                      </a:r>
                      <a:endParaRPr lang="en-US" dirty="0"/>
                    </a:p>
                  </a:txBody>
                  <a:tcPr/>
                </a:tc>
              </a:tr>
              <a:tr h="370840">
                <a:tc>
                  <a:txBody>
                    <a:bodyPr/>
                    <a:lstStyle/>
                    <a:p>
                      <a:r>
                        <a:rPr lang="en-US" dirty="0" smtClean="0"/>
                        <a:t>Blended</a:t>
                      </a:r>
                      <a:r>
                        <a:rPr lang="en-US" baseline="0" dirty="0" smtClean="0"/>
                        <a:t> Learning</a:t>
                      </a:r>
                      <a:endParaRPr lang="en-US" dirty="0"/>
                    </a:p>
                  </a:txBody>
                  <a:tcPr/>
                </a:tc>
              </a:tr>
              <a:tr h="370840">
                <a:tc>
                  <a:txBody>
                    <a:bodyPr/>
                    <a:lstStyle/>
                    <a:p>
                      <a:r>
                        <a:rPr lang="en-US" dirty="0" smtClean="0"/>
                        <a:t>Campus</a:t>
                      </a:r>
                      <a:r>
                        <a:rPr lang="en-US" baseline="0" dirty="0" smtClean="0"/>
                        <a:t> events</a:t>
                      </a:r>
                      <a:endParaRPr lang="en-US" dirty="0"/>
                    </a:p>
                  </a:txBody>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134938"/>
            <a:ext cx="8951912" cy="715962"/>
          </a:xfrm>
        </p:spPr>
        <p:txBody>
          <a:bodyPr/>
          <a:lstStyle/>
          <a:p>
            <a:r>
              <a:rPr lang="en-US" dirty="0" smtClean="0"/>
              <a:t>Important Reading Material to get you up to speed with the way Our University works</a:t>
            </a:r>
            <a:endParaRPr lang="en-GB" dirty="0"/>
          </a:p>
        </p:txBody>
      </p:sp>
      <p:graphicFrame>
        <p:nvGraphicFramePr>
          <p:cNvPr id="6" name="Table 5"/>
          <p:cNvGraphicFramePr>
            <a:graphicFrameLocks noGrp="1"/>
          </p:cNvGraphicFramePr>
          <p:nvPr/>
        </p:nvGraphicFramePr>
        <p:xfrm>
          <a:off x="309349" y="1055796"/>
          <a:ext cx="8466162" cy="5308600"/>
        </p:xfrm>
        <a:graphic>
          <a:graphicData uri="http://schemas.openxmlformats.org/drawingml/2006/table">
            <a:tbl>
              <a:tblPr firstRow="1" bandRow="1">
                <a:tableStyleId>{F5AB1C69-6EDB-4FF4-983F-18BD219EF322}</a:tableStyleId>
              </a:tblPr>
              <a:tblGrid>
                <a:gridCol w="2822054"/>
                <a:gridCol w="2822054"/>
                <a:gridCol w="2822054"/>
              </a:tblGrid>
              <a:tr h="370840">
                <a:tc>
                  <a:txBody>
                    <a:bodyPr/>
                    <a:lstStyle/>
                    <a:p>
                      <a:r>
                        <a:rPr lang="en-US" dirty="0" smtClean="0"/>
                        <a:t>Initiative/Where</a:t>
                      </a:r>
                      <a:r>
                        <a:rPr lang="en-US" baseline="0" dirty="0" smtClean="0"/>
                        <a:t> to find</a:t>
                      </a:r>
                      <a:endParaRPr lang="en-US" dirty="0"/>
                    </a:p>
                  </a:txBody>
                  <a:tcPr/>
                </a:tc>
                <a:tc>
                  <a:txBody>
                    <a:bodyPr/>
                    <a:lstStyle/>
                    <a:p>
                      <a:r>
                        <a:rPr lang="en-US" dirty="0" smtClean="0"/>
                        <a:t>What</a:t>
                      </a:r>
                      <a:endParaRPr lang="en-US" dirty="0"/>
                    </a:p>
                  </a:txBody>
                  <a:tcPr/>
                </a:tc>
                <a:tc>
                  <a:txBody>
                    <a:bodyPr/>
                    <a:lstStyle/>
                    <a:p>
                      <a:r>
                        <a:rPr lang="en-US" dirty="0" smtClean="0"/>
                        <a:t>Examples</a:t>
                      </a:r>
                      <a:endParaRPr lang="en-US" dirty="0"/>
                    </a:p>
                  </a:txBody>
                  <a:tcPr/>
                </a:tc>
              </a:tr>
              <a:tr h="370840">
                <a:tc>
                  <a:txBody>
                    <a:bodyPr/>
                    <a:lstStyle/>
                    <a:p>
                      <a:r>
                        <a:rPr lang="en-US" dirty="0" smtClean="0">
                          <a:hlinkClick r:id="rId2"/>
                        </a:rPr>
                        <a:t>Next Generation Learning Principles</a:t>
                      </a:r>
                      <a:endParaRPr lang="en-US" dirty="0"/>
                    </a:p>
                  </a:txBody>
                  <a:tcPr/>
                </a:tc>
                <a:tc>
                  <a:txBody>
                    <a:bodyPr/>
                    <a:lstStyle/>
                    <a:p>
                      <a:r>
                        <a:rPr lang="en-US" dirty="0" smtClean="0"/>
                        <a:t>Principles that guide us in our learning design and development process</a:t>
                      </a:r>
                      <a:endParaRPr lang="en-US" dirty="0"/>
                    </a:p>
                  </a:txBody>
                  <a:tcPr/>
                </a:tc>
                <a:tc>
                  <a:txBody>
                    <a:bodyPr/>
                    <a:lstStyle/>
                    <a:p>
                      <a:pPr>
                        <a:buFontTx/>
                        <a:buNone/>
                      </a:pPr>
                      <a:r>
                        <a:rPr lang="en-US" dirty="0" smtClean="0"/>
                        <a:t>There are 3 documents on this page that should be referred to</a:t>
                      </a:r>
                      <a:endParaRPr lang="en-US" dirty="0"/>
                    </a:p>
                  </a:txBody>
                  <a:tcPr/>
                </a:tc>
              </a:tr>
              <a:tr h="370840">
                <a:tc>
                  <a:txBody>
                    <a:bodyPr/>
                    <a:lstStyle/>
                    <a:p>
                      <a:r>
                        <a:rPr lang="en-US" dirty="0" smtClean="0">
                          <a:hlinkClick r:id="rId3"/>
                        </a:rPr>
                        <a:t>Standard Learning Packages (SLPs)/Learning Product and Services</a:t>
                      </a:r>
                      <a:endParaRPr lang="en-US" dirty="0"/>
                    </a:p>
                  </a:txBody>
                  <a:tcPr/>
                </a:tc>
                <a:tc>
                  <a:txBody>
                    <a:bodyPr/>
                    <a:lstStyle/>
                    <a:p>
                      <a:r>
                        <a:rPr lang="en-US" dirty="0" smtClean="0"/>
                        <a:t>Products</a:t>
                      </a:r>
                      <a:r>
                        <a:rPr lang="en-US" baseline="0" dirty="0" smtClean="0"/>
                        <a:t> and Services that the NGL Lab has to offer to the Business Units</a:t>
                      </a:r>
                      <a:endParaRPr lang="en-US" dirty="0"/>
                    </a:p>
                  </a:txBody>
                  <a:tcPr/>
                </a:tc>
                <a:tc>
                  <a:txBody>
                    <a:bodyPr/>
                    <a:lstStyle/>
                    <a:p>
                      <a:r>
                        <a:rPr lang="en-US" dirty="0" smtClean="0"/>
                        <a:t>eLearning</a:t>
                      </a:r>
                      <a:r>
                        <a:rPr lang="en-US" baseline="0" dirty="0" smtClean="0"/>
                        <a:t> modules/Assessments/Virtual classrooms</a:t>
                      </a:r>
                    </a:p>
                  </a:txBody>
                  <a:tcPr/>
                </a:tc>
              </a:tr>
              <a:tr h="370840">
                <a:tc>
                  <a:txBody>
                    <a:bodyPr/>
                    <a:lstStyle/>
                    <a:p>
                      <a:r>
                        <a:rPr lang="en-US" dirty="0" smtClean="0">
                          <a:hlinkClick r:id="rId4" action="ppaction://hlinkfile"/>
                        </a:rPr>
                        <a:t>Point of View</a:t>
                      </a:r>
                      <a:r>
                        <a:rPr lang="en-US" baseline="0" dirty="0" smtClean="0">
                          <a:hlinkClick r:id="rId4" action="ppaction://hlinkfile"/>
                        </a:rPr>
                        <a:t> (POV) documents </a:t>
                      </a:r>
                      <a:endParaRPr lang="en-US" dirty="0"/>
                    </a:p>
                  </a:txBody>
                  <a:tcPr/>
                </a:tc>
                <a:tc>
                  <a:txBody>
                    <a:bodyPr/>
                    <a:lstStyle/>
                    <a:p>
                      <a:r>
                        <a:rPr lang="en-US" dirty="0" smtClean="0"/>
                        <a:t>Based on pilots,</a:t>
                      </a:r>
                      <a:r>
                        <a:rPr lang="en-US" baseline="0" dirty="0" smtClean="0"/>
                        <a:t> where are we and what is our thinking on strategic initiatives</a:t>
                      </a:r>
                      <a:endParaRPr lang="en-US" dirty="0"/>
                    </a:p>
                  </a:txBody>
                  <a:tcPr/>
                </a:tc>
                <a:tc>
                  <a:txBody>
                    <a:bodyPr/>
                    <a:lstStyle/>
                    <a:p>
                      <a:r>
                        <a:rPr lang="en-US" dirty="0" smtClean="0"/>
                        <a:t>POV on MOOCs and how we should use them</a:t>
                      </a:r>
                      <a:endParaRPr lang="en-US" dirty="0"/>
                    </a:p>
                  </a:txBody>
                  <a:tcPr/>
                </a:tc>
              </a:tr>
              <a:tr h="370840">
                <a:tc>
                  <a:txBody>
                    <a:bodyPr/>
                    <a:lstStyle/>
                    <a:p>
                      <a:r>
                        <a:rPr lang="en-US" dirty="0" smtClean="0">
                          <a:hlinkClick r:id="rId5" action="ppaction://hlinkfile"/>
                        </a:rPr>
                        <a:t>Business Case (BC) docs</a:t>
                      </a:r>
                      <a:endParaRPr lang="en-US" dirty="0"/>
                    </a:p>
                  </a:txBody>
                  <a:tcPr/>
                </a:tc>
                <a:tc>
                  <a:txBody>
                    <a:bodyPr/>
                    <a:lstStyle/>
                    <a:p>
                      <a:r>
                        <a:rPr lang="en-US" dirty="0" smtClean="0"/>
                        <a:t>A end</a:t>
                      </a:r>
                      <a:r>
                        <a:rPr lang="en-US" baseline="0" dirty="0" smtClean="0"/>
                        <a:t> to end case to invest in a new technology/trend</a:t>
                      </a:r>
                      <a:endParaRPr lang="en-US" dirty="0"/>
                    </a:p>
                  </a:txBody>
                  <a:tcPr/>
                </a:tc>
                <a:tc>
                  <a:txBody>
                    <a:bodyPr/>
                    <a:lstStyle/>
                    <a:p>
                      <a:r>
                        <a:rPr lang="en-US" dirty="0" smtClean="0"/>
                        <a:t>A</a:t>
                      </a:r>
                      <a:r>
                        <a:rPr lang="en-US" baseline="0" dirty="0" smtClean="0"/>
                        <a:t> BC on whether the University should create an app or outsource it</a:t>
                      </a:r>
                      <a:endParaRPr lang="en-US" dirty="0"/>
                    </a:p>
                  </a:txBody>
                  <a:tcPr/>
                </a:tc>
              </a:tr>
              <a:tr h="370840">
                <a:tc>
                  <a:txBody>
                    <a:bodyPr/>
                    <a:lstStyle/>
                    <a:p>
                      <a:r>
                        <a:rPr lang="en-US" dirty="0" smtClean="0">
                          <a:hlinkClick r:id="rId6"/>
                        </a:rPr>
                        <a:t>Innovation Reports</a:t>
                      </a:r>
                      <a:endParaRPr lang="en-US" dirty="0"/>
                    </a:p>
                  </a:txBody>
                  <a:tcPr/>
                </a:tc>
                <a:tc>
                  <a:txBody>
                    <a:bodyPr/>
                    <a:lstStyle/>
                    <a:p>
                      <a:r>
                        <a:rPr lang="en-US" dirty="0" smtClean="0"/>
                        <a:t>NGL Lab’s quarterly view on  trends</a:t>
                      </a:r>
                      <a:r>
                        <a:rPr lang="en-US" baseline="0" dirty="0" smtClean="0"/>
                        <a:t> in learning</a:t>
                      </a:r>
                      <a:endParaRPr lang="en-US" dirty="0"/>
                    </a:p>
                  </a:txBody>
                  <a:tcPr/>
                </a:tc>
                <a:tc>
                  <a:txBody>
                    <a:bodyPr/>
                    <a:lstStyle/>
                    <a:p>
                      <a:r>
                        <a:rPr lang="en-US" dirty="0" smtClean="0"/>
                        <a:t>We released</a:t>
                      </a:r>
                      <a:r>
                        <a:rPr lang="en-US" baseline="0" dirty="0" smtClean="0"/>
                        <a:t> 4 such innovation reports in 2014</a:t>
                      </a:r>
                      <a:endParaRPr lang="en-US" dirty="0"/>
                    </a:p>
                  </a:txBody>
                  <a:tcPr/>
                </a:tc>
              </a:tr>
              <a:tr h="370840">
                <a:tc>
                  <a:txBody>
                    <a:bodyPr/>
                    <a:lstStyle/>
                    <a:p>
                      <a:r>
                        <a:rPr lang="en-US" dirty="0" smtClean="0">
                          <a:hlinkClick r:id="rId7"/>
                        </a:rPr>
                        <a:t>Do-it-yourself Learning</a:t>
                      </a:r>
                      <a:endParaRPr lang="en-US" dirty="0"/>
                    </a:p>
                  </a:txBody>
                  <a:tcPr/>
                </a:tc>
                <a:tc>
                  <a:txBody>
                    <a:bodyPr/>
                    <a:lstStyle/>
                    <a:p>
                      <a:r>
                        <a:rPr lang="en-US" dirty="0" smtClean="0"/>
                        <a:t>NGL</a:t>
                      </a:r>
                      <a:r>
                        <a:rPr lang="en-US" baseline="0" dirty="0" smtClean="0"/>
                        <a:t> Lab view on how L&amp;Ds can do Next-gen Learning</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Create a PODCAST on your own</a:t>
                      </a:r>
                      <a:endParaRPr lang="en-US" dirty="0"/>
                    </a:p>
                  </a:txBody>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134938"/>
            <a:ext cx="8951912" cy="715962"/>
          </a:xfrm>
        </p:spPr>
        <p:txBody>
          <a:bodyPr/>
          <a:lstStyle/>
          <a:p>
            <a:r>
              <a:rPr lang="en-US" dirty="0" smtClean="0"/>
              <a:t>Examples of some of our courses that you must see..</a:t>
            </a:r>
            <a:endParaRPr lang="en-GB" dirty="0"/>
          </a:p>
        </p:txBody>
      </p:sp>
      <p:graphicFrame>
        <p:nvGraphicFramePr>
          <p:cNvPr id="6" name="Table 5"/>
          <p:cNvGraphicFramePr>
            <a:graphicFrameLocks noGrp="1"/>
          </p:cNvGraphicFramePr>
          <p:nvPr/>
        </p:nvGraphicFramePr>
        <p:xfrm>
          <a:off x="336644" y="1287808"/>
          <a:ext cx="7988490" cy="4145280"/>
        </p:xfrm>
        <a:graphic>
          <a:graphicData uri="http://schemas.openxmlformats.org/drawingml/2006/table">
            <a:tbl>
              <a:tblPr firstRow="1" bandRow="1">
                <a:tableStyleId>{F5AB1C69-6EDB-4FF4-983F-18BD219EF322}</a:tableStyleId>
              </a:tblPr>
              <a:tblGrid>
                <a:gridCol w="3994245"/>
                <a:gridCol w="3994245"/>
              </a:tblGrid>
              <a:tr h="370840">
                <a:tc>
                  <a:txBody>
                    <a:bodyPr/>
                    <a:lstStyle/>
                    <a:p>
                      <a:r>
                        <a:rPr lang="en-US" dirty="0" smtClean="0"/>
                        <a:t>Name of Course</a:t>
                      </a:r>
                      <a:endParaRPr lang="en-US" dirty="0"/>
                    </a:p>
                  </a:txBody>
                  <a:tcPr/>
                </a:tc>
                <a:tc>
                  <a:txBody>
                    <a:bodyPr/>
                    <a:lstStyle/>
                    <a:p>
                      <a:r>
                        <a:rPr lang="en-US" dirty="0" smtClean="0"/>
                        <a:t>What</a:t>
                      </a:r>
                      <a:endParaRPr lang="en-US" dirty="0"/>
                    </a:p>
                  </a:txBody>
                  <a:tcPr/>
                </a:tc>
              </a:tr>
              <a:tr h="370840">
                <a:tc>
                  <a:txBody>
                    <a:bodyPr/>
                    <a:lstStyle/>
                    <a:p>
                      <a:r>
                        <a:rPr lang="en-US" dirty="0" smtClean="0"/>
                        <a:t>Software Engineers of the Future - MOOC</a:t>
                      </a:r>
                      <a:endParaRPr lang="en-US" dirty="0"/>
                    </a:p>
                  </a:txBody>
                  <a:tcPr/>
                </a:tc>
                <a:tc>
                  <a:txBody>
                    <a:bodyPr/>
                    <a:lstStyle/>
                    <a:p>
                      <a:r>
                        <a:rPr lang="en-US" dirty="0" smtClean="0">
                          <a:hlinkClick r:id="rId2"/>
                        </a:rPr>
                        <a:t>Virtual Campus</a:t>
                      </a:r>
                      <a:r>
                        <a:rPr lang="en-US" baseline="0" dirty="0" smtClean="0">
                          <a:hlinkClick r:id="rId2"/>
                        </a:rPr>
                        <a:t> </a:t>
                      </a:r>
                      <a:r>
                        <a:rPr lang="en-US" baseline="0" dirty="0" smtClean="0"/>
                        <a:t>(need to register with CG email id)</a:t>
                      </a:r>
                      <a:endParaRPr lang="en-US" dirty="0"/>
                    </a:p>
                  </a:txBody>
                  <a:tcPr/>
                </a:tc>
              </a:tr>
              <a:tr h="370840">
                <a:tc>
                  <a:txBody>
                    <a:bodyPr/>
                    <a:lstStyle/>
                    <a:p>
                      <a:r>
                        <a:rPr lang="en-US" dirty="0" smtClean="0"/>
                        <a:t>CSW Tablet</a:t>
                      </a:r>
                      <a:r>
                        <a:rPr lang="en-US" baseline="0" dirty="0" smtClean="0"/>
                        <a:t> App</a:t>
                      </a:r>
                      <a:endParaRPr lang="en-US" dirty="0"/>
                    </a:p>
                  </a:txBody>
                  <a:tcPr/>
                </a:tc>
                <a:tc>
                  <a:txBody>
                    <a:bodyPr/>
                    <a:lstStyle/>
                    <a:p>
                      <a:r>
                        <a:rPr lang="en-US" dirty="0" smtClean="0"/>
                        <a:t>Talk to Bhavin or Amer for a demo</a:t>
                      </a:r>
                      <a:endParaRPr lang="en-US" dirty="0"/>
                    </a:p>
                  </a:txBody>
                  <a:tcPr/>
                </a:tc>
              </a:tr>
              <a:tr h="370840">
                <a:tc>
                  <a:txBody>
                    <a:bodyPr/>
                    <a:lstStyle/>
                    <a:p>
                      <a:r>
                        <a:rPr lang="en-US" dirty="0" smtClean="0"/>
                        <a:t>EM</a:t>
                      </a:r>
                      <a:r>
                        <a:rPr lang="en-US" baseline="0" dirty="0" smtClean="0"/>
                        <a:t> Game</a:t>
                      </a:r>
                      <a:endParaRPr lang="en-US" dirty="0"/>
                    </a:p>
                  </a:txBody>
                  <a:tcPr/>
                </a:tc>
                <a:tc>
                  <a:txBody>
                    <a:bodyPr/>
                    <a:lstStyle/>
                    <a:p>
                      <a:r>
                        <a:rPr lang="en-US" dirty="0" smtClean="0"/>
                        <a:t>Talk to Medha for a demo</a:t>
                      </a:r>
                      <a:endParaRPr lang="en-US" dirty="0"/>
                    </a:p>
                  </a:txBody>
                  <a:tcPr/>
                </a:tc>
              </a:tr>
              <a:tr h="370840">
                <a:tc>
                  <a:txBody>
                    <a:bodyPr/>
                    <a:lstStyle/>
                    <a:p>
                      <a:r>
                        <a:rPr lang="en-US" dirty="0" smtClean="0"/>
                        <a:t>Managing</a:t>
                      </a:r>
                      <a:r>
                        <a:rPr lang="en-US" baseline="0" dirty="0" smtClean="0"/>
                        <a:t> Resistance – HTML 5 course</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alk to Bhavin or Amer for a demo/or access on your </a:t>
                      </a:r>
                      <a:r>
                        <a:rPr lang="en-US" dirty="0" err="1" smtClean="0"/>
                        <a:t>smartphone</a:t>
                      </a:r>
                      <a:endParaRPr lang="en-US" dirty="0"/>
                    </a:p>
                  </a:txBody>
                  <a:tcPr/>
                </a:tc>
              </a:tr>
              <a:tr h="370840">
                <a:tc>
                  <a:txBody>
                    <a:bodyPr/>
                    <a:lstStyle/>
                    <a:p>
                      <a:r>
                        <a:rPr lang="en-US" dirty="0" smtClean="0"/>
                        <a:t>TechnoTrends</a:t>
                      </a:r>
                      <a:r>
                        <a:rPr lang="en-US" baseline="0" dirty="0" smtClean="0"/>
                        <a:t> Interactive PDFs</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alk to Bhavin for access</a:t>
                      </a:r>
                      <a:endParaRPr lang="en-US" dirty="0"/>
                    </a:p>
                  </a:txBody>
                  <a:tcPr/>
                </a:tc>
              </a:tr>
              <a:tr h="370840">
                <a:tc>
                  <a:txBody>
                    <a:bodyPr/>
                    <a:lstStyle/>
                    <a:p>
                      <a:r>
                        <a:rPr lang="en-US" dirty="0" smtClean="0">
                          <a:hlinkClick r:id="rId3"/>
                        </a:rPr>
                        <a:t>Winning in</a:t>
                      </a:r>
                      <a:r>
                        <a:rPr lang="en-US" baseline="0" dirty="0" smtClean="0">
                          <a:hlinkClick r:id="rId3"/>
                        </a:rPr>
                        <a:t> Cross Cultural environments</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kern="1200" dirty="0" smtClean="0">
                          <a:solidFill>
                            <a:schemeClr val="dk1"/>
                          </a:solidFill>
                          <a:latin typeface="+mn-lt"/>
                          <a:ea typeface="+mn-ea"/>
                          <a:cs typeface="+mn-cs"/>
                        </a:rPr>
                        <a:t>eLearning module (level 2)</a:t>
                      </a:r>
                    </a:p>
                  </a:txBody>
                  <a:tcPr/>
                </a:tc>
              </a:tr>
              <a:tr h="370840">
                <a:tc>
                  <a:txBody>
                    <a:bodyPr/>
                    <a:lstStyle/>
                    <a:p>
                      <a:r>
                        <a:rPr lang="en-US" dirty="0" smtClean="0">
                          <a:hlinkClick r:id="rId4"/>
                        </a:rPr>
                        <a:t>Product management</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kern="1200" dirty="0" smtClean="0">
                          <a:solidFill>
                            <a:schemeClr val="dk1"/>
                          </a:solidFill>
                          <a:latin typeface="+mn-lt"/>
                          <a:ea typeface="+mn-ea"/>
                          <a:cs typeface="+mn-cs"/>
                        </a:rPr>
                        <a:t>Rapid (via our home grown tool)</a:t>
                      </a:r>
                    </a:p>
                  </a:txBody>
                  <a:tcPr/>
                </a:tc>
              </a:tr>
              <a:tr h="370840">
                <a:tc>
                  <a:txBody>
                    <a:bodyPr/>
                    <a:lstStyle/>
                    <a:p>
                      <a:r>
                        <a:rPr lang="en-US" dirty="0" smtClean="0">
                          <a:hlinkClick r:id="rId5"/>
                        </a:rPr>
                        <a:t>CSW scribe</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kern="1200" dirty="0" smtClean="0">
                          <a:solidFill>
                            <a:schemeClr val="dk1"/>
                          </a:solidFill>
                          <a:latin typeface="+mn-lt"/>
                          <a:ea typeface="+mn-ea"/>
                          <a:cs typeface="+mn-cs"/>
                        </a:rPr>
                        <a:t>Scribe</a:t>
                      </a:r>
                      <a:r>
                        <a:rPr lang="en-US" sz="1800" kern="1200" baseline="0" dirty="0" smtClean="0">
                          <a:solidFill>
                            <a:schemeClr val="dk1"/>
                          </a:solidFill>
                          <a:latin typeface="+mn-lt"/>
                          <a:ea typeface="+mn-ea"/>
                          <a:cs typeface="+mn-cs"/>
                        </a:rPr>
                        <a:t> animations (drill down the link and click scribe)</a:t>
                      </a:r>
                      <a:endParaRPr lang="en-US" sz="1800" kern="1200" dirty="0" smtClean="0">
                        <a:solidFill>
                          <a:schemeClr val="dk1"/>
                        </a:solidFill>
                        <a:latin typeface="+mn-lt"/>
                        <a:ea typeface="+mn-ea"/>
                        <a:cs typeface="+mn-cs"/>
                      </a:endParaRPr>
                    </a:p>
                  </a:txBody>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13DBB61-CD8C-4E4B-8C22-AF2AD6C042C3}"/>
</file>

<file path=customXml/itemProps2.xml><?xml version="1.0" encoding="utf-8"?>
<ds:datastoreItem xmlns:ds="http://schemas.openxmlformats.org/officeDocument/2006/customXml" ds:itemID="{61A9B007-8C04-424F-89BF-20899147A8CD}"/>
</file>

<file path=customXml/itemProps3.xml><?xml version="1.0" encoding="utf-8"?>
<ds:datastoreItem xmlns:ds="http://schemas.openxmlformats.org/officeDocument/2006/customXml" ds:itemID="{B3080593-0ACD-4D33-8D55-91E2402DEC3B}"/>
</file>

<file path=docProps/app.xml><?xml version="1.0" encoding="utf-8"?>
<Properties xmlns="http://schemas.openxmlformats.org/officeDocument/2006/extended-properties" xmlns:vt="http://schemas.openxmlformats.org/officeDocument/2006/docPropsVTypes">
  <TotalTime>1691</TotalTime>
  <Words>531</Words>
  <Application>Microsoft Office PowerPoint</Application>
  <PresentationFormat>On-screen Show (4:3)</PresentationFormat>
  <Paragraphs>98</Paragraphs>
  <Slides>10</Slides>
  <Notes>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15" baseType="lpstr">
      <vt:lpstr>University_Template</vt:lpstr>
      <vt:lpstr>Section Header</vt:lpstr>
      <vt:lpstr>1_Closing slides</vt:lpstr>
      <vt:lpstr>1_University_Template</vt:lpstr>
      <vt:lpstr>think-cell Slide</vt:lpstr>
      <vt:lpstr>Onboarding Pack for New Joiners  University &gt; NGL Lab &gt; D&amp;I team </vt:lpstr>
      <vt:lpstr>Organisational  Aspects</vt:lpstr>
      <vt:lpstr>Every employee belongs to a Practice and is loaned to an account</vt:lpstr>
      <vt:lpstr>Every employee belongs to a Practice and is loaned to an account</vt:lpstr>
      <vt:lpstr>Our account is Our University (OU) – A Group Function</vt:lpstr>
      <vt:lpstr>What we do at the University</vt:lpstr>
      <vt:lpstr>Our University creates GLOBAL CURRICULUM content for all 150,000 employees of the Group</vt:lpstr>
      <vt:lpstr>Important Reading Material to get you up to speed with the way Our University works</vt:lpstr>
      <vt:lpstr>Examples of some of our courses that you must see..</vt:lpstr>
      <vt:lpstr>Slide 10</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shandy</cp:lastModifiedBy>
  <cp:revision>428</cp:revision>
  <dcterms:created xsi:type="dcterms:W3CDTF">2011-06-24T12:15:59Z</dcterms:created>
  <dcterms:modified xsi:type="dcterms:W3CDTF">2015-03-19T05:4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